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4"/>
  </p:sldMasterIdLst>
  <p:notesMasterIdLst>
    <p:notesMasterId r:id="rId25"/>
  </p:notesMasterIdLst>
  <p:handoutMasterIdLst>
    <p:handoutMasterId r:id="rId26"/>
  </p:handoutMasterIdLst>
  <p:sldIdLst>
    <p:sldId id="293" r:id="rId5"/>
    <p:sldId id="294" r:id="rId6"/>
    <p:sldId id="295" r:id="rId7"/>
    <p:sldId id="296" r:id="rId8"/>
    <p:sldId id="297" r:id="rId9"/>
    <p:sldId id="298" r:id="rId10"/>
    <p:sldId id="299" r:id="rId11"/>
    <p:sldId id="300" r:id="rId12"/>
    <p:sldId id="301" r:id="rId13"/>
    <p:sldId id="302" r:id="rId14"/>
    <p:sldId id="303" r:id="rId15"/>
    <p:sldId id="304" r:id="rId16"/>
    <p:sldId id="305" r:id="rId17"/>
    <p:sldId id="306" r:id="rId18"/>
    <p:sldId id="307" r:id="rId19"/>
    <p:sldId id="308" r:id="rId20"/>
    <p:sldId id="309" r:id="rId21"/>
    <p:sldId id="310" r:id="rId22"/>
    <p:sldId id="311" r:id="rId23"/>
    <p:sldId id="292" r:id="rId24"/>
  </p:sldIdLst>
  <p:sldSz cx="12190413" cy="6858000"/>
  <p:notesSz cx="6858000" cy="9945688"/>
  <p:defaultTextStyle>
    <a:defPPr>
      <a:defRPr lang="de-DE"/>
    </a:defPPr>
    <a:lvl1pPr marL="0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BFA1"/>
    <a:srgbClr val="82C778"/>
    <a:srgbClr val="C0C0C0"/>
    <a:srgbClr val="C9C9C9"/>
    <a:srgbClr val="0096C7"/>
    <a:srgbClr val="45BFE5"/>
    <a:srgbClr val="DAE3F3"/>
    <a:srgbClr val="E6E3FA"/>
    <a:srgbClr val="DFE3EF"/>
    <a:srgbClr val="BDD7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19" autoAdjust="0"/>
    <p:restoredTop sz="94417" autoAdjust="0"/>
  </p:normalViewPr>
  <p:slideViewPr>
    <p:cSldViewPr snapToGrid="0">
      <p:cViewPr>
        <p:scale>
          <a:sx n="50" d="100"/>
          <a:sy n="50" d="100"/>
        </p:scale>
        <p:origin x="-1204" y="-38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952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16" d="100"/>
          <a:sy n="116" d="100"/>
        </p:scale>
        <p:origin x="2178" y="-12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KMU 1 (mittlere) 
69.723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invertIfNegative val="0"/>
          <c:cat>
            <c:strRef>
              <c:f>Tabelle1!$A$2</c:f>
              <c:strCache>
                <c:ptCount val="1"/>
                <c:pt idx="0">
                  <c:v>Anzahl in %</c:v>
                </c:pt>
              </c:strCache>
            </c:strRef>
          </c:cat>
          <c:val>
            <c:numRef>
              <c:f>Tabelle1!$B$2</c:f>
              <c:numCache>
                <c:formatCode>#,##0</c:formatCode>
                <c:ptCount val="1"/>
                <c:pt idx="0">
                  <c:v>697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C88-4682-B502-F197D0D1F79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KMU 2 (kleine) 
300.712</c:v>
                </c:pt>
              </c:strCache>
            </c:strRef>
          </c:tx>
          <c:spPr>
            <a:solidFill>
              <a:srgbClr val="40B39B"/>
            </a:solidFill>
          </c:spPr>
          <c:invertIfNegative val="0"/>
          <c:dPt>
            <c:idx val="0"/>
            <c:invertIfNegative val="0"/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8C88-4682-B502-F197D0D1F79B}"/>
              </c:ext>
            </c:extLst>
          </c:dPt>
          <c:cat>
            <c:strRef>
              <c:f>Tabelle1!$A$2</c:f>
              <c:strCache>
                <c:ptCount val="1"/>
                <c:pt idx="0">
                  <c:v>Anzahl in %</c:v>
                </c:pt>
              </c:strCache>
            </c:strRef>
          </c:cat>
          <c:val>
            <c:numRef>
              <c:f>Tabelle1!$C$2</c:f>
              <c:numCache>
                <c:formatCode>#,##0</c:formatCode>
                <c:ptCount val="1"/>
                <c:pt idx="0">
                  <c:v>30071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8C88-4682-B502-F197D0D1F79B}"/>
            </c:ext>
          </c:extLst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KMU 3 (kleinste)
3.240.367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cat>
            <c:strRef>
              <c:f>Tabelle1!$A$2</c:f>
              <c:strCache>
                <c:ptCount val="1"/>
                <c:pt idx="0">
                  <c:v>Anzahl in %</c:v>
                </c:pt>
              </c:strCache>
            </c:strRef>
          </c:cat>
          <c:val>
            <c:numRef>
              <c:f>Tabelle1!$D$2</c:f>
              <c:numCache>
                <c:formatCode>#,##0</c:formatCode>
                <c:ptCount val="1"/>
                <c:pt idx="0">
                  <c:v>32403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8C88-4682-B502-F197D0D1F7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0823424"/>
        <c:axId val="40837504"/>
      </c:barChart>
      <c:catAx>
        <c:axId val="4082342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crossAx val="40837504"/>
        <c:crosses val="autoZero"/>
        <c:auto val="1"/>
        <c:lblAlgn val="ctr"/>
        <c:lblOffset val="100"/>
        <c:noMultiLvlLbl val="0"/>
      </c:catAx>
      <c:valAx>
        <c:axId val="40837504"/>
        <c:scaling>
          <c:orientation val="minMax"/>
        </c:scaling>
        <c:delete val="0"/>
        <c:axPos val="b"/>
        <c:majorGridlines/>
        <c:numFmt formatCode="0%" sourceLinked="1"/>
        <c:majorTickMark val="out"/>
        <c:minorTickMark val="none"/>
        <c:tickLblPos val="nextTo"/>
        <c:crossAx val="40823424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b="0"/>
            </a:pPr>
            <a:endParaRPr lang="de-DE"/>
          </a:p>
        </c:txPr>
      </c:legendEntry>
      <c:layout>
        <c:manualLayout>
          <c:xMode val="edge"/>
          <c:yMode val="edge"/>
          <c:x val="0.81263569735443975"/>
          <c:y val="0.15948463091635956"/>
          <c:w val="0.18011792004260338"/>
          <c:h val="0.74555621820973694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C0A4F8-7CDA-4170-AE17-069081F2F7E2}" type="datetimeFigureOut">
              <a:rPr lang="de-DE" smtClean="0"/>
              <a:pPr/>
              <a:t>02.05.2017</a:t>
            </a:fld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21EF83-4EFF-480E-B901-A7858F4892AB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039972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90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DFD2F5-620F-4DD9-B7DF-647D45A4665C}" type="datetimeFigureOut">
              <a:rPr lang="de-DE" smtClean="0"/>
              <a:pPr/>
              <a:t>02.05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46088" y="1243013"/>
            <a:ext cx="5965825" cy="33575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786362"/>
            <a:ext cx="5486400" cy="391611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9446678"/>
            <a:ext cx="2971800" cy="4990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DC8E32-DF9E-4BB5-8659-D9350EA75640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71653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09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63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17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71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26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80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34" algn="l" defTabSz="91430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Hier geht’s um Vertrauen</a:t>
            </a:r>
          </a:p>
          <a:p>
            <a:pPr marL="171450" indent="-171450">
              <a:buFontTx/>
              <a:buChar char="-"/>
            </a:pPr>
            <a:r>
              <a:rPr lang="de-DE" dirty="0"/>
              <a:t>Anbieter sollen, z.B. durch ihre Verpflichtungen über das Label Vertrauen schaffen</a:t>
            </a:r>
          </a:p>
          <a:p>
            <a:pPr marL="171450" indent="-171450">
              <a:buFontTx/>
              <a:buChar char="-"/>
            </a:pPr>
            <a:r>
              <a:rPr lang="de-DE" dirty="0"/>
              <a:t>Wir wollen Anwender motivieren </a:t>
            </a:r>
          </a:p>
          <a:p>
            <a:pPr marL="171450" indent="-171450">
              <a:buFontTx/>
              <a:buChar char="-"/>
            </a:pPr>
            <a:r>
              <a:rPr lang="de-DE" dirty="0"/>
              <a:t>mit dem Label ihre Bedenken adressieren </a:t>
            </a:r>
          </a:p>
          <a:p>
            <a:pPr marL="171450" indent="-171450">
              <a:buFontTx/>
              <a:buChar char="-"/>
            </a:pPr>
            <a:r>
              <a:rPr lang="de-DE" dirty="0"/>
              <a:t>und ausräumen</a:t>
            </a:r>
          </a:p>
          <a:p>
            <a:pPr marL="171450" indent="-171450">
              <a:buFontTx/>
              <a:buChar char="-"/>
            </a:pPr>
            <a:endParaRPr lang="de-DE" dirty="0"/>
          </a:p>
          <a:p>
            <a:r>
              <a:rPr lang="de-DE" dirty="0"/>
              <a:t>Denn gerade kleine und Kleinstunternehmen können von Anwendungen aus der Cloud profitieren.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28692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914521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96374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70519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0529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Jetzt haben wir nur über Probleme und Ziele gesprochen</a:t>
            </a:r>
          </a:p>
          <a:p>
            <a:r>
              <a:rPr lang="de-DE" dirty="0"/>
              <a:t>Wie kann denn ein Lösung aussehen?</a:t>
            </a:r>
          </a:p>
          <a:p>
            <a:endParaRPr lang="de-DE" dirty="0"/>
          </a:p>
          <a:p>
            <a:r>
              <a:rPr lang="de-DE" dirty="0"/>
              <a:t>Ein Praxisbeispi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5803435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685800" y="4780407"/>
            <a:ext cx="5486400" cy="4938972"/>
          </a:xfrm>
        </p:spPr>
        <p:txBody>
          <a:bodyPr/>
          <a:lstStyle/>
          <a:p>
            <a:r>
              <a:rPr lang="de-DE" sz="1050" dirty="0"/>
              <a:t>Die Erfolgsgeschichte der Firma Mühle aus Selb mit 5 Mitarbeitern</a:t>
            </a:r>
          </a:p>
          <a:p>
            <a:endParaRPr lang="de-DE" sz="1050" dirty="0"/>
          </a:p>
          <a:p>
            <a:r>
              <a:rPr lang="de-DE" sz="1050" dirty="0"/>
              <a:t>Er hat das selbst in die Hand genommen und hat mit 3 Cloud Services seinen Betrieb effizienter gemacht</a:t>
            </a:r>
          </a:p>
          <a:p>
            <a:endParaRPr lang="de-DE" sz="1050" dirty="0"/>
          </a:p>
          <a:p>
            <a:r>
              <a:rPr lang="de-DE" sz="1050" dirty="0"/>
              <a:t>Problemfelder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Aufgabenverteilung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Abrechnung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Arbeitszeiten</a:t>
            </a:r>
          </a:p>
          <a:p>
            <a:endParaRPr lang="de-DE" sz="1050" dirty="0"/>
          </a:p>
          <a:p>
            <a:r>
              <a:rPr lang="de-DE" sz="1050" dirty="0"/>
              <a:t>Lösung: Alles Mobil: stringenter, einfacher, zeitsparender</a:t>
            </a:r>
          </a:p>
          <a:p>
            <a:pPr marL="228600" indent="-228600">
              <a:buAutoNum type="arabicPeriod"/>
            </a:pPr>
            <a:r>
              <a:rPr lang="de-DE" sz="1050" dirty="0"/>
              <a:t>Websystem (Termine Aufgaben Projekte)</a:t>
            </a:r>
          </a:p>
          <a:p>
            <a:pPr marL="228600" indent="-228600">
              <a:buAutoNum type="arabicPeriod"/>
            </a:pPr>
            <a:r>
              <a:rPr lang="de-DE" sz="1050" dirty="0"/>
              <a:t>Gruppen Plattform CRM/ERP: Marketing, Vertrieb, Buchhaltung, Berichte, etc. werden miteinander verbunden</a:t>
            </a:r>
          </a:p>
          <a:p>
            <a:pPr marL="228600" indent="-228600">
              <a:buAutoNum type="arabicPeriod"/>
            </a:pPr>
            <a:r>
              <a:rPr lang="de-DE" sz="1050" dirty="0"/>
              <a:t>Zeiterfassung (Projektcontrolling, Abrechnungsgrundlage)</a:t>
            </a:r>
          </a:p>
          <a:p>
            <a:endParaRPr lang="de-DE" sz="1050" dirty="0"/>
          </a:p>
          <a:p>
            <a:r>
              <a:rPr lang="de-DE" sz="1050" dirty="0"/>
              <a:t>Kosten 20 € und 50 € im Monat</a:t>
            </a:r>
          </a:p>
          <a:p>
            <a:pPr marL="228600" indent="-228600">
              <a:buAutoNum type="arabicPeriod"/>
            </a:pPr>
            <a:endParaRPr lang="de-DE" sz="1050" dirty="0"/>
          </a:p>
          <a:p>
            <a:r>
              <a:rPr lang="de-DE" sz="1050" dirty="0"/>
              <a:t>Wichtig war ihm folgendes: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Problemfelder definieren, es muss zur Arbeitsweise und eigenen Prozessen pass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kleine Anbieter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Testmöglichkeit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zuverlässiger und freundlicher Service</a:t>
            </a:r>
          </a:p>
          <a:p>
            <a:pPr marL="171450" indent="-171450">
              <a:buFontTx/>
              <a:buChar char="-"/>
            </a:pPr>
            <a:endParaRPr lang="de-DE" sz="1050" dirty="0"/>
          </a:p>
          <a:p>
            <a:r>
              <a:rPr lang="de-DE" sz="1050" dirty="0"/>
              <a:t>Erreicht hat er damit: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bessere Marge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bessere Arbeitszeiten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zufriedenere Kunden und Mitarbeiter</a:t>
            </a:r>
          </a:p>
          <a:p>
            <a:pPr marL="171450" indent="-171450">
              <a:buFontTx/>
              <a:buChar char="-"/>
            </a:pPr>
            <a:r>
              <a:rPr lang="de-DE" sz="1050" dirty="0"/>
              <a:t>Zeit für neue Ziele</a:t>
            </a:r>
          </a:p>
          <a:p>
            <a:pPr marL="171450" indent="-171450">
              <a:buFontTx/>
              <a:buChar char="-"/>
            </a:pPr>
            <a:endParaRPr lang="de-DE" sz="105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60184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iese Prozesse kennen Sie?!</a:t>
            </a:r>
            <a:br>
              <a:rPr lang="de-DE" dirty="0"/>
            </a:br>
            <a:r>
              <a:rPr lang="de-DE" dirty="0"/>
              <a:t>Diese sind bei allen gleich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6429178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9736396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b hier wenden Wir uns auch an die HWKs, Netzwerke, Verbände und unterstützenden Institutionen!</a:t>
            </a:r>
            <a:br>
              <a:rPr lang="de-DE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728285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So ist es geplant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11847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52103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34241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m Detail bieten wir:</a:t>
            </a:r>
          </a:p>
          <a:p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Label (gibt’s erst nach einer umfangreichen Prüfung)</a:t>
            </a:r>
          </a:p>
          <a:p>
            <a:pPr marL="171450" indent="-171450">
              <a:buFontTx/>
              <a:buChar char="-"/>
            </a:pPr>
            <a:r>
              <a:rPr lang="de-DE" dirty="0"/>
              <a:t>Listungen von Services mit Leistungsbeschreibungen, so dass Services auch vergleichbar wer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Auch Dienstleister und Berater können gelistet werden</a:t>
            </a:r>
          </a:p>
          <a:p>
            <a:pPr marL="171450" indent="-171450">
              <a:buFontTx/>
              <a:buChar char="-"/>
            </a:pPr>
            <a:r>
              <a:rPr lang="de-DE" dirty="0"/>
              <a:t>Wissen, wie Checklisten, Leitfäden zu Themen rund um die Cloud</a:t>
            </a:r>
          </a:p>
          <a:p>
            <a:pPr marL="171450" indent="-171450">
              <a:buFontTx/>
              <a:buChar char="-"/>
            </a:pPr>
            <a:r>
              <a:rPr lang="de-DE" dirty="0"/>
              <a:t>Ein Veranstaltungskonzept, das Anwender und Anbieter zusammen bringen soll und Ihnen auch zeigen soll wie Sie von Anwendungen konkret profitieren können</a:t>
            </a:r>
          </a:p>
          <a:p>
            <a:pPr marL="171450" indent="-171450">
              <a:buFontTx/>
              <a:buChar char="-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3207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Es ist nicht nur ein schöner Button</a:t>
            </a:r>
            <a:br>
              <a:rPr lang="de-DE" dirty="0"/>
            </a:br>
            <a:r>
              <a:rPr lang="de-DE" dirty="0"/>
              <a:t>umfassende sorgfältige Prüfungen und Experten stehen dahinte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568880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1163711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90% des Mittelstandes sind kleine und Kleinstunternehmen wie Handwerker</a:t>
            </a:r>
          </a:p>
          <a:p>
            <a:r>
              <a:rPr lang="de-DE" dirty="0"/>
              <a:t>Sie sind wichtig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47414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028700" y="534988"/>
            <a:ext cx="4872038" cy="2741612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as ist ein Versuch das Problem aus Ihrer Sicht zu betrachten.</a:t>
            </a:r>
            <a:br>
              <a:rPr lang="de-DE" dirty="0"/>
            </a:br>
            <a:r>
              <a:rPr lang="de-DE" dirty="0"/>
              <a:t>Sagen Sie ob Sie sich dort wiederfinden!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735628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387197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1DC8E32-DF9E-4BB5-8659-D9350EA75640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16371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emf"/><Relationship Id="rId4" Type="http://schemas.openxmlformats.org/officeDocument/2006/relationships/image" Target="../media/image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4.emf"/><Relationship Id="rId4" Type="http://schemas.openxmlformats.org/officeDocument/2006/relationships/image" Target="../media/image13.emf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 userDrawn="1"/>
        </p:nvSpPr>
        <p:spPr>
          <a:xfrm>
            <a:off x="9282896" y="5141777"/>
            <a:ext cx="2907517" cy="1716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Rechteck 1"/>
          <p:cNvSpPr/>
          <p:nvPr userDrawn="1"/>
        </p:nvSpPr>
        <p:spPr>
          <a:xfrm>
            <a:off x="0" y="2"/>
            <a:ext cx="12190413" cy="5141775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871" y="408727"/>
            <a:ext cx="2304653" cy="1222320"/>
          </a:xfrm>
          <a:prstGeom prst="rect">
            <a:avLst/>
          </a:prstGeom>
        </p:spPr>
      </p:pic>
      <p:sp>
        <p:nvSpPr>
          <p:cNvPr id="23" name="Titel 22"/>
          <p:cNvSpPr>
            <a:spLocks noGrp="1"/>
          </p:cNvSpPr>
          <p:nvPr>
            <p:ph type="title"/>
          </p:nvPr>
        </p:nvSpPr>
        <p:spPr>
          <a:xfrm>
            <a:off x="719794" y="2160000"/>
            <a:ext cx="9523802" cy="1325563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defRPr sz="4000" b="0" i="0">
                <a:solidFill>
                  <a:schemeClr val="bg1"/>
                </a:solidFill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3" name="Untertitel 2"/>
          <p:cNvSpPr>
            <a:spLocks noGrp="1"/>
          </p:cNvSpPr>
          <p:nvPr>
            <p:ph type="subTitle" idx="1"/>
          </p:nvPr>
        </p:nvSpPr>
        <p:spPr>
          <a:xfrm>
            <a:off x="719792" y="3719093"/>
            <a:ext cx="9523803" cy="875436"/>
          </a:xfrm>
        </p:spPr>
        <p:txBody>
          <a:bodyPr>
            <a:noAutofit/>
          </a:bodyPr>
          <a:lstStyle>
            <a:lvl1pPr marL="0" indent="0" algn="l">
              <a:buNone/>
              <a:defRPr sz="2400" b="0" i="0">
                <a:solidFill>
                  <a:srgbClr val="C0C0C0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pic>
        <p:nvPicPr>
          <p:cNvPr id="34" name="Grafik 4"/>
          <p:cNvPicPr preferRelativeResize="0"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0274" y="5592774"/>
            <a:ext cx="1653750" cy="829338"/>
          </a:xfrm>
          <a:prstGeom prst="rect">
            <a:avLst/>
          </a:prstGeom>
        </p:spPr>
      </p:pic>
      <p:sp>
        <p:nvSpPr>
          <p:cNvPr id="17" name="Freeform 48"/>
          <p:cNvSpPr>
            <a:spLocks/>
          </p:cNvSpPr>
          <p:nvPr userDrawn="1"/>
        </p:nvSpPr>
        <p:spPr bwMode="auto">
          <a:xfrm>
            <a:off x="0" y="5045526"/>
            <a:ext cx="2258871" cy="96251"/>
          </a:xfrm>
          <a:custGeom>
            <a:avLst/>
            <a:gdLst>
              <a:gd name="T0" fmla="*/ 0 w 2204"/>
              <a:gd name="T1" fmla="*/ 95 h 95"/>
              <a:gd name="T2" fmla="*/ 2204 w 2204"/>
              <a:gd name="T3" fmla="*/ 95 h 95"/>
              <a:gd name="T4" fmla="*/ 2204 w 2204"/>
              <a:gd name="T5" fmla="*/ 0 h 95"/>
              <a:gd name="T6" fmla="*/ 0 w 2204"/>
              <a:gd name="T7" fmla="*/ 0 h 95"/>
              <a:gd name="T8" fmla="*/ 0 w 2204"/>
              <a:gd name="T9" fmla="*/ 9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4" h="95">
                <a:moveTo>
                  <a:pt x="0" y="95"/>
                </a:moveTo>
                <a:lnTo>
                  <a:pt x="2204" y="95"/>
                </a:lnTo>
                <a:lnTo>
                  <a:pt x="220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0096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18" name="Freeform 46"/>
          <p:cNvSpPr>
            <a:spLocks/>
          </p:cNvSpPr>
          <p:nvPr userDrawn="1"/>
        </p:nvSpPr>
        <p:spPr bwMode="auto">
          <a:xfrm>
            <a:off x="2258871" y="5045526"/>
            <a:ext cx="2134858" cy="96251"/>
          </a:xfrm>
          <a:custGeom>
            <a:avLst/>
            <a:gdLst>
              <a:gd name="T0" fmla="+- 0 2204 2204"/>
              <a:gd name="T1" fmla="*/ T0 w 2083"/>
              <a:gd name="T2" fmla="*/ 95 h 95"/>
              <a:gd name="T3" fmla="+- 0 4288 2204"/>
              <a:gd name="T4" fmla="*/ T3 w 2083"/>
              <a:gd name="T5" fmla="*/ 95 h 95"/>
              <a:gd name="T6" fmla="+- 0 4288 2204"/>
              <a:gd name="T7" fmla="*/ T6 w 2083"/>
              <a:gd name="T8" fmla="*/ 0 h 95"/>
              <a:gd name="T9" fmla="+- 0 2204 2204"/>
              <a:gd name="T10" fmla="*/ T9 w 2083"/>
              <a:gd name="T11" fmla="*/ 0 h 95"/>
              <a:gd name="T12" fmla="+- 0 2204 2204"/>
              <a:gd name="T13" fmla="*/ T12 w 2083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2083" h="95">
                <a:moveTo>
                  <a:pt x="0" y="95"/>
                </a:moveTo>
                <a:lnTo>
                  <a:pt x="2084" y="95"/>
                </a:lnTo>
                <a:lnTo>
                  <a:pt x="208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45BF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19" name="Freeform 44"/>
          <p:cNvSpPr>
            <a:spLocks/>
          </p:cNvSpPr>
          <p:nvPr userDrawn="1"/>
        </p:nvSpPr>
        <p:spPr bwMode="auto">
          <a:xfrm>
            <a:off x="4394754" y="5045526"/>
            <a:ext cx="6196521" cy="96251"/>
          </a:xfrm>
          <a:custGeom>
            <a:avLst/>
            <a:gdLst>
              <a:gd name="T0" fmla="+- 0 10334 4288"/>
              <a:gd name="T1" fmla="*/ T0 w 6046"/>
              <a:gd name="T2" fmla="*/ 95 h 95"/>
              <a:gd name="T3" fmla="+- 0 4288 4288"/>
              <a:gd name="T4" fmla="*/ T3 w 6046"/>
              <a:gd name="T5" fmla="*/ 95 h 95"/>
              <a:gd name="T6" fmla="+- 0 4288 4288"/>
              <a:gd name="T7" fmla="*/ T6 w 6046"/>
              <a:gd name="T8" fmla="*/ 0 h 95"/>
              <a:gd name="T9" fmla="+- 0 10334 4288"/>
              <a:gd name="T10" fmla="*/ T9 w 6046"/>
              <a:gd name="T11" fmla="*/ 0 h 95"/>
              <a:gd name="T12" fmla="+- 0 10334 4288"/>
              <a:gd name="T13" fmla="*/ T12 w 6046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6046" h="95">
                <a:moveTo>
                  <a:pt x="6046" y="95"/>
                </a:moveTo>
                <a:lnTo>
                  <a:pt x="0" y="95"/>
                </a:lnTo>
                <a:lnTo>
                  <a:pt x="0" y="0"/>
                </a:lnTo>
                <a:lnTo>
                  <a:pt x="6046" y="0"/>
                </a:lnTo>
                <a:lnTo>
                  <a:pt x="6046" y="95"/>
                </a:lnTo>
              </a:path>
            </a:pathLst>
          </a:custGeom>
          <a:solidFill>
            <a:srgbClr val="29BF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20" name="Freeform 42"/>
          <p:cNvSpPr>
            <a:spLocks/>
          </p:cNvSpPr>
          <p:nvPr userDrawn="1"/>
        </p:nvSpPr>
        <p:spPr bwMode="auto">
          <a:xfrm>
            <a:off x="10591275" y="5045526"/>
            <a:ext cx="1611136" cy="96251"/>
          </a:xfrm>
          <a:custGeom>
            <a:avLst/>
            <a:gdLst>
              <a:gd name="T0" fmla="+- 0 10334 10334"/>
              <a:gd name="T1" fmla="*/ T0 w 1572"/>
              <a:gd name="T2" fmla="*/ 95 h 95"/>
              <a:gd name="T3" fmla="+- 0 11906 10334"/>
              <a:gd name="T4" fmla="*/ T3 w 1572"/>
              <a:gd name="T5" fmla="*/ 95 h 95"/>
              <a:gd name="T6" fmla="+- 0 11906 10334"/>
              <a:gd name="T7" fmla="*/ T6 w 1572"/>
              <a:gd name="T8" fmla="*/ 0 h 95"/>
              <a:gd name="T9" fmla="+- 0 10334 10334"/>
              <a:gd name="T10" fmla="*/ T9 w 1572"/>
              <a:gd name="T11" fmla="*/ 0 h 95"/>
              <a:gd name="T12" fmla="+- 0 10334 10334"/>
              <a:gd name="T13" fmla="*/ T12 w 1572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1572" h="95">
                <a:moveTo>
                  <a:pt x="0" y="95"/>
                </a:moveTo>
                <a:lnTo>
                  <a:pt x="1572" y="95"/>
                </a:lnTo>
                <a:lnTo>
                  <a:pt x="1572" y="0"/>
                </a:lnTo>
                <a:lnTo>
                  <a:pt x="0" y="0"/>
                </a:lnTo>
                <a:lnTo>
                  <a:pt x="0" y="95"/>
                </a:lnTo>
              </a:path>
            </a:pathLst>
          </a:custGeom>
          <a:solidFill>
            <a:srgbClr val="82C7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2610424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entitel m. Verzeichnis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"/>
          <p:cNvSpPr/>
          <p:nvPr userDrawn="1"/>
        </p:nvSpPr>
        <p:spPr>
          <a:xfrm>
            <a:off x="11998" y="0"/>
            <a:ext cx="12190413" cy="5994309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3863197" y="2417854"/>
            <a:ext cx="7046396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marL="285722" indent="-285722">
              <a:buFont typeface="Arial" panose="020B0604020202020204" pitchFamily="34" charset="0"/>
              <a:buChar char="•"/>
            </a:pP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rster Punkt | Einzeilig | Maecenas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b="0" i="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3863196" y="3244812"/>
            <a:ext cx="7040597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marL="285722" indent="-285722">
              <a:buFont typeface="Arial" panose="020B0604020202020204" pitchFamily="34" charset="0"/>
              <a:buChar char="•"/>
            </a:pP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Zweiter Punkt | Aktiv | Zweizeilig | Maecenas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sem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quam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semper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libero</a:t>
            </a:r>
            <a:r>
              <a:rPr lang="de-DE" sz="1900" b="1" i="0" u="none" strike="noStrike" kern="1200" baseline="0" dirty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rPr>
              <a:t>adipiscing</a:t>
            </a:r>
            <a:endParaRPr lang="de-DE" b="1" i="0" dirty="0">
              <a:solidFill>
                <a:srgbClr val="40B39B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8" name="Textfeld 27"/>
          <p:cNvSpPr txBox="1"/>
          <p:nvPr userDrawn="1"/>
        </p:nvSpPr>
        <p:spPr>
          <a:xfrm>
            <a:off x="3863197" y="4091619"/>
            <a:ext cx="7040596" cy="423182"/>
          </a:xfrm>
          <a:prstGeom prst="rect">
            <a:avLst/>
          </a:prstGeom>
          <a:noFill/>
        </p:spPr>
        <p:txBody>
          <a:bodyPr wrap="square" lIns="91431" tIns="45715" rIns="91431" bIns="45715" rtlCol="0">
            <a:noAutofit/>
          </a:bodyPr>
          <a:lstStyle/>
          <a:p>
            <a:pPr marL="285722" indent="-285722">
              <a:buFont typeface="Arial" panose="020B0604020202020204" pitchFamily="34" charset="0"/>
              <a:buChar char="•"/>
            </a:pPr>
            <a:r>
              <a:rPr lang="de-DE" sz="1900" b="0" i="0" u="none" strike="noStrike" kern="120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Dritter Punkt</a:t>
            </a:r>
            <a:endParaRPr lang="de-DE" b="0" i="0" dirty="0">
              <a:solidFill>
                <a:schemeClr val="bg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0" name="Freeform 48"/>
          <p:cNvSpPr>
            <a:spLocks/>
          </p:cNvSpPr>
          <p:nvPr userDrawn="1"/>
        </p:nvSpPr>
        <p:spPr bwMode="auto">
          <a:xfrm>
            <a:off x="0" y="5914533"/>
            <a:ext cx="2258871" cy="96251"/>
          </a:xfrm>
          <a:custGeom>
            <a:avLst/>
            <a:gdLst>
              <a:gd name="T0" fmla="*/ 0 w 2204"/>
              <a:gd name="T1" fmla="*/ 95 h 95"/>
              <a:gd name="T2" fmla="*/ 2204 w 2204"/>
              <a:gd name="T3" fmla="*/ 95 h 95"/>
              <a:gd name="T4" fmla="*/ 2204 w 2204"/>
              <a:gd name="T5" fmla="*/ 0 h 95"/>
              <a:gd name="T6" fmla="*/ 0 w 2204"/>
              <a:gd name="T7" fmla="*/ 0 h 95"/>
              <a:gd name="T8" fmla="*/ 0 w 2204"/>
              <a:gd name="T9" fmla="*/ 9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4" h="95">
                <a:moveTo>
                  <a:pt x="0" y="95"/>
                </a:moveTo>
                <a:lnTo>
                  <a:pt x="2204" y="95"/>
                </a:lnTo>
                <a:lnTo>
                  <a:pt x="220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0096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31" name="Freeform 46"/>
          <p:cNvSpPr>
            <a:spLocks/>
          </p:cNvSpPr>
          <p:nvPr userDrawn="1"/>
        </p:nvSpPr>
        <p:spPr bwMode="auto">
          <a:xfrm>
            <a:off x="2258871" y="5914533"/>
            <a:ext cx="2134858" cy="96251"/>
          </a:xfrm>
          <a:custGeom>
            <a:avLst/>
            <a:gdLst>
              <a:gd name="T0" fmla="+- 0 2204 2204"/>
              <a:gd name="T1" fmla="*/ T0 w 2083"/>
              <a:gd name="T2" fmla="*/ 95 h 95"/>
              <a:gd name="T3" fmla="+- 0 4288 2204"/>
              <a:gd name="T4" fmla="*/ T3 w 2083"/>
              <a:gd name="T5" fmla="*/ 95 h 95"/>
              <a:gd name="T6" fmla="+- 0 4288 2204"/>
              <a:gd name="T7" fmla="*/ T6 w 2083"/>
              <a:gd name="T8" fmla="*/ 0 h 95"/>
              <a:gd name="T9" fmla="+- 0 2204 2204"/>
              <a:gd name="T10" fmla="*/ T9 w 2083"/>
              <a:gd name="T11" fmla="*/ 0 h 95"/>
              <a:gd name="T12" fmla="+- 0 2204 2204"/>
              <a:gd name="T13" fmla="*/ T12 w 2083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2083" h="95">
                <a:moveTo>
                  <a:pt x="0" y="95"/>
                </a:moveTo>
                <a:lnTo>
                  <a:pt x="2084" y="95"/>
                </a:lnTo>
                <a:lnTo>
                  <a:pt x="208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45BF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33" name="Freeform 44"/>
          <p:cNvSpPr>
            <a:spLocks/>
          </p:cNvSpPr>
          <p:nvPr userDrawn="1"/>
        </p:nvSpPr>
        <p:spPr bwMode="auto">
          <a:xfrm>
            <a:off x="4394754" y="5914533"/>
            <a:ext cx="6196521" cy="96251"/>
          </a:xfrm>
          <a:custGeom>
            <a:avLst/>
            <a:gdLst>
              <a:gd name="T0" fmla="+- 0 10334 4288"/>
              <a:gd name="T1" fmla="*/ T0 w 6046"/>
              <a:gd name="T2" fmla="*/ 95 h 95"/>
              <a:gd name="T3" fmla="+- 0 4288 4288"/>
              <a:gd name="T4" fmla="*/ T3 w 6046"/>
              <a:gd name="T5" fmla="*/ 95 h 95"/>
              <a:gd name="T6" fmla="+- 0 4288 4288"/>
              <a:gd name="T7" fmla="*/ T6 w 6046"/>
              <a:gd name="T8" fmla="*/ 0 h 95"/>
              <a:gd name="T9" fmla="+- 0 10334 4288"/>
              <a:gd name="T10" fmla="*/ T9 w 6046"/>
              <a:gd name="T11" fmla="*/ 0 h 95"/>
              <a:gd name="T12" fmla="+- 0 10334 4288"/>
              <a:gd name="T13" fmla="*/ T12 w 6046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6046" h="95">
                <a:moveTo>
                  <a:pt x="6046" y="95"/>
                </a:moveTo>
                <a:lnTo>
                  <a:pt x="0" y="95"/>
                </a:lnTo>
                <a:lnTo>
                  <a:pt x="0" y="0"/>
                </a:lnTo>
                <a:lnTo>
                  <a:pt x="6046" y="0"/>
                </a:lnTo>
                <a:lnTo>
                  <a:pt x="6046" y="95"/>
                </a:lnTo>
              </a:path>
            </a:pathLst>
          </a:custGeom>
          <a:solidFill>
            <a:srgbClr val="29BF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34" name="Freeform 42"/>
          <p:cNvSpPr>
            <a:spLocks/>
          </p:cNvSpPr>
          <p:nvPr userDrawn="1"/>
        </p:nvSpPr>
        <p:spPr bwMode="auto">
          <a:xfrm>
            <a:off x="10591275" y="5914533"/>
            <a:ext cx="1611136" cy="96251"/>
          </a:xfrm>
          <a:custGeom>
            <a:avLst/>
            <a:gdLst>
              <a:gd name="T0" fmla="+- 0 10334 10334"/>
              <a:gd name="T1" fmla="*/ T0 w 1572"/>
              <a:gd name="T2" fmla="*/ 95 h 95"/>
              <a:gd name="T3" fmla="+- 0 11906 10334"/>
              <a:gd name="T4" fmla="*/ T3 w 1572"/>
              <a:gd name="T5" fmla="*/ 95 h 95"/>
              <a:gd name="T6" fmla="+- 0 11906 10334"/>
              <a:gd name="T7" fmla="*/ T6 w 1572"/>
              <a:gd name="T8" fmla="*/ 0 h 95"/>
              <a:gd name="T9" fmla="+- 0 10334 10334"/>
              <a:gd name="T10" fmla="*/ T9 w 1572"/>
              <a:gd name="T11" fmla="*/ 0 h 95"/>
              <a:gd name="T12" fmla="+- 0 10334 10334"/>
              <a:gd name="T13" fmla="*/ T12 w 1572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1572" h="95">
                <a:moveTo>
                  <a:pt x="0" y="95"/>
                </a:moveTo>
                <a:lnTo>
                  <a:pt x="1572" y="95"/>
                </a:lnTo>
                <a:lnTo>
                  <a:pt x="1572" y="0"/>
                </a:lnTo>
                <a:lnTo>
                  <a:pt x="0" y="0"/>
                </a:lnTo>
                <a:lnTo>
                  <a:pt x="0" y="95"/>
                </a:lnTo>
              </a:path>
            </a:pathLst>
          </a:custGeom>
          <a:solidFill>
            <a:srgbClr val="82C7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pic>
        <p:nvPicPr>
          <p:cNvPr id="35" name="Bild 3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143" y="301122"/>
            <a:ext cx="1357542" cy="720000"/>
          </a:xfrm>
          <a:prstGeom prst="rect">
            <a:avLst/>
          </a:prstGeom>
        </p:spPr>
      </p:pic>
      <p:pic>
        <p:nvPicPr>
          <p:cNvPr id="36" name="Bild 3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9460" y="2625151"/>
            <a:ext cx="2341713" cy="1660755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19865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1709740"/>
            <a:ext cx="10514231" cy="2711789"/>
          </a:xfrm>
          <a:prstGeom prst="rect">
            <a:avLst/>
          </a:prstGeom>
        </p:spPr>
        <p:txBody>
          <a:bodyPr lIns="0" tIns="0" rIns="0" bIns="0" anchor="b"/>
          <a:lstStyle>
            <a:lvl1pPr>
              <a:defRPr sz="4400" b="0" i="0"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4589465"/>
            <a:ext cx="10514231" cy="1500187"/>
          </a:xfrm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54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3pPr>
            <a:lvl4pPr marL="13714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6291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1"/>
          <p:cNvSpPr/>
          <p:nvPr userDrawn="1"/>
        </p:nvSpPr>
        <p:spPr>
          <a:xfrm>
            <a:off x="0" y="0"/>
            <a:ext cx="12190413" cy="5971159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43" name="Bildplatzhalter 42"/>
          <p:cNvSpPr>
            <a:spLocks noGrp="1"/>
          </p:cNvSpPr>
          <p:nvPr>
            <p:ph type="pic" sz="quarter" idx="12"/>
          </p:nvPr>
        </p:nvSpPr>
        <p:spPr>
          <a:xfrm>
            <a:off x="1207931" y="2391453"/>
            <a:ext cx="1657134" cy="2212975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4" name="Textfeld 43"/>
          <p:cNvSpPr txBox="1"/>
          <p:nvPr userDrawn="1"/>
        </p:nvSpPr>
        <p:spPr>
          <a:xfrm>
            <a:off x="3273595" y="2434380"/>
            <a:ext cx="5632624" cy="228523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>
              <a:lnSpc>
                <a:spcPct val="150000"/>
              </a:lnSpc>
            </a:pPr>
            <a:r>
              <a:rPr lang="de-DE" b="1" i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Kontakt</a:t>
            </a:r>
          </a:p>
          <a:p>
            <a:pPr>
              <a:lnSpc>
                <a:spcPct val="150000"/>
              </a:lnSpc>
            </a:pPr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Name</a:t>
            </a:r>
          </a:p>
          <a:p>
            <a:pPr>
              <a:lnSpc>
                <a:spcPct val="150000"/>
              </a:lnSpc>
            </a:pPr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Funktion</a:t>
            </a:r>
            <a:r>
              <a:rPr lang="de-DE" b="0" i="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 / Company</a:t>
            </a:r>
          </a:p>
          <a:p>
            <a:pPr>
              <a:lnSpc>
                <a:spcPct val="150000"/>
              </a:lnSpc>
            </a:pPr>
            <a:r>
              <a:rPr lang="de-DE" b="0" i="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Mail: </a:t>
            </a:r>
          </a:p>
          <a:p>
            <a:pPr>
              <a:lnSpc>
                <a:spcPct val="150000"/>
              </a:lnSpc>
            </a:pPr>
            <a:r>
              <a:rPr lang="de-DE" b="0" i="0" baseline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Telefon:</a:t>
            </a:r>
          </a:p>
        </p:txBody>
      </p:sp>
      <p:sp>
        <p:nvSpPr>
          <p:cNvPr id="42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45" name="Freeform 48"/>
          <p:cNvSpPr>
            <a:spLocks/>
          </p:cNvSpPr>
          <p:nvPr userDrawn="1"/>
        </p:nvSpPr>
        <p:spPr bwMode="auto">
          <a:xfrm>
            <a:off x="0" y="5921182"/>
            <a:ext cx="2258871" cy="96251"/>
          </a:xfrm>
          <a:custGeom>
            <a:avLst/>
            <a:gdLst>
              <a:gd name="T0" fmla="*/ 0 w 2204"/>
              <a:gd name="T1" fmla="*/ 95 h 95"/>
              <a:gd name="T2" fmla="*/ 2204 w 2204"/>
              <a:gd name="T3" fmla="*/ 95 h 95"/>
              <a:gd name="T4" fmla="*/ 2204 w 2204"/>
              <a:gd name="T5" fmla="*/ 0 h 95"/>
              <a:gd name="T6" fmla="*/ 0 w 2204"/>
              <a:gd name="T7" fmla="*/ 0 h 95"/>
              <a:gd name="T8" fmla="*/ 0 w 2204"/>
              <a:gd name="T9" fmla="*/ 95 h 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04" h="95">
                <a:moveTo>
                  <a:pt x="0" y="95"/>
                </a:moveTo>
                <a:lnTo>
                  <a:pt x="2204" y="95"/>
                </a:lnTo>
                <a:lnTo>
                  <a:pt x="220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0096C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46" name="Freeform 46"/>
          <p:cNvSpPr>
            <a:spLocks/>
          </p:cNvSpPr>
          <p:nvPr userDrawn="1"/>
        </p:nvSpPr>
        <p:spPr bwMode="auto">
          <a:xfrm>
            <a:off x="2258871" y="5921182"/>
            <a:ext cx="2134858" cy="96251"/>
          </a:xfrm>
          <a:custGeom>
            <a:avLst/>
            <a:gdLst>
              <a:gd name="T0" fmla="+- 0 2204 2204"/>
              <a:gd name="T1" fmla="*/ T0 w 2083"/>
              <a:gd name="T2" fmla="*/ 95 h 95"/>
              <a:gd name="T3" fmla="+- 0 4288 2204"/>
              <a:gd name="T4" fmla="*/ T3 w 2083"/>
              <a:gd name="T5" fmla="*/ 95 h 95"/>
              <a:gd name="T6" fmla="+- 0 4288 2204"/>
              <a:gd name="T7" fmla="*/ T6 w 2083"/>
              <a:gd name="T8" fmla="*/ 0 h 95"/>
              <a:gd name="T9" fmla="+- 0 2204 2204"/>
              <a:gd name="T10" fmla="*/ T9 w 2083"/>
              <a:gd name="T11" fmla="*/ 0 h 95"/>
              <a:gd name="T12" fmla="+- 0 2204 2204"/>
              <a:gd name="T13" fmla="*/ T12 w 2083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2083" h="95">
                <a:moveTo>
                  <a:pt x="0" y="95"/>
                </a:moveTo>
                <a:lnTo>
                  <a:pt x="2084" y="95"/>
                </a:lnTo>
                <a:lnTo>
                  <a:pt x="2084" y="0"/>
                </a:lnTo>
                <a:lnTo>
                  <a:pt x="0" y="0"/>
                </a:lnTo>
                <a:lnTo>
                  <a:pt x="0" y="95"/>
                </a:lnTo>
                <a:close/>
              </a:path>
            </a:pathLst>
          </a:custGeom>
          <a:solidFill>
            <a:srgbClr val="45BF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47" name="Freeform 44"/>
          <p:cNvSpPr>
            <a:spLocks/>
          </p:cNvSpPr>
          <p:nvPr userDrawn="1"/>
        </p:nvSpPr>
        <p:spPr bwMode="auto">
          <a:xfrm>
            <a:off x="4394754" y="5921182"/>
            <a:ext cx="6196521" cy="96251"/>
          </a:xfrm>
          <a:custGeom>
            <a:avLst/>
            <a:gdLst>
              <a:gd name="T0" fmla="+- 0 10334 4288"/>
              <a:gd name="T1" fmla="*/ T0 w 6046"/>
              <a:gd name="T2" fmla="*/ 95 h 95"/>
              <a:gd name="T3" fmla="+- 0 4288 4288"/>
              <a:gd name="T4" fmla="*/ T3 w 6046"/>
              <a:gd name="T5" fmla="*/ 95 h 95"/>
              <a:gd name="T6" fmla="+- 0 4288 4288"/>
              <a:gd name="T7" fmla="*/ T6 w 6046"/>
              <a:gd name="T8" fmla="*/ 0 h 95"/>
              <a:gd name="T9" fmla="+- 0 10334 4288"/>
              <a:gd name="T10" fmla="*/ T9 w 6046"/>
              <a:gd name="T11" fmla="*/ 0 h 95"/>
              <a:gd name="T12" fmla="+- 0 10334 4288"/>
              <a:gd name="T13" fmla="*/ T12 w 6046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6046" h="95">
                <a:moveTo>
                  <a:pt x="6046" y="95"/>
                </a:moveTo>
                <a:lnTo>
                  <a:pt x="0" y="95"/>
                </a:lnTo>
                <a:lnTo>
                  <a:pt x="0" y="0"/>
                </a:lnTo>
                <a:lnTo>
                  <a:pt x="6046" y="0"/>
                </a:lnTo>
                <a:lnTo>
                  <a:pt x="6046" y="95"/>
                </a:lnTo>
              </a:path>
            </a:pathLst>
          </a:custGeom>
          <a:solidFill>
            <a:srgbClr val="29BFA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sp>
        <p:nvSpPr>
          <p:cNvPr id="48" name="Freeform 42"/>
          <p:cNvSpPr>
            <a:spLocks/>
          </p:cNvSpPr>
          <p:nvPr userDrawn="1"/>
        </p:nvSpPr>
        <p:spPr bwMode="auto">
          <a:xfrm>
            <a:off x="10591275" y="5921182"/>
            <a:ext cx="1611136" cy="96251"/>
          </a:xfrm>
          <a:custGeom>
            <a:avLst/>
            <a:gdLst>
              <a:gd name="T0" fmla="+- 0 10334 10334"/>
              <a:gd name="T1" fmla="*/ T0 w 1572"/>
              <a:gd name="T2" fmla="*/ 95 h 95"/>
              <a:gd name="T3" fmla="+- 0 11906 10334"/>
              <a:gd name="T4" fmla="*/ T3 w 1572"/>
              <a:gd name="T5" fmla="*/ 95 h 95"/>
              <a:gd name="T6" fmla="+- 0 11906 10334"/>
              <a:gd name="T7" fmla="*/ T6 w 1572"/>
              <a:gd name="T8" fmla="*/ 0 h 95"/>
              <a:gd name="T9" fmla="+- 0 10334 10334"/>
              <a:gd name="T10" fmla="*/ T9 w 1572"/>
              <a:gd name="T11" fmla="*/ 0 h 95"/>
              <a:gd name="T12" fmla="+- 0 10334 10334"/>
              <a:gd name="T13" fmla="*/ T12 w 1572"/>
              <a:gd name="T14" fmla="*/ 95 h 95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  <a:cxn ang="0">
                <a:pos x="T13" y="T14"/>
              </a:cxn>
            </a:cxnLst>
            <a:rect l="0" t="0" r="r" b="b"/>
            <a:pathLst>
              <a:path w="1572" h="95">
                <a:moveTo>
                  <a:pt x="0" y="95"/>
                </a:moveTo>
                <a:lnTo>
                  <a:pt x="1572" y="95"/>
                </a:lnTo>
                <a:lnTo>
                  <a:pt x="1572" y="0"/>
                </a:lnTo>
                <a:lnTo>
                  <a:pt x="0" y="0"/>
                </a:lnTo>
                <a:lnTo>
                  <a:pt x="0" y="95"/>
                </a:lnTo>
              </a:path>
            </a:pathLst>
          </a:custGeom>
          <a:solidFill>
            <a:srgbClr val="82C7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de-DE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3143" y="301122"/>
            <a:ext cx="1357542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748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Vielen Dank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0"/>
            <a:ext cx="12190412" cy="6866163"/>
          </a:xfrm>
          <a:prstGeom prst="rect">
            <a:avLst/>
          </a:prstGeom>
          <a:solidFill>
            <a:schemeClr val="bg1"/>
          </a:solidFill>
          <a:effectLst/>
        </p:spPr>
      </p:pic>
      <p:pic>
        <p:nvPicPr>
          <p:cNvPr id="2" name="Grafik 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61611" y="5438268"/>
            <a:ext cx="3061805" cy="1024443"/>
          </a:xfrm>
          <a:prstGeom prst="rect">
            <a:avLst/>
          </a:prstGeom>
        </p:spPr>
      </p:pic>
      <p:sp>
        <p:nvSpPr>
          <p:cNvPr id="26" name="Rechteck 25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Titel 2"/>
          <p:cNvSpPr>
            <a:spLocks noGrp="1"/>
          </p:cNvSpPr>
          <p:nvPr>
            <p:ph type="title" hasCustomPrompt="1"/>
          </p:nvPr>
        </p:nvSpPr>
        <p:spPr>
          <a:xfrm>
            <a:off x="1669074" y="3137051"/>
            <a:ext cx="8805965" cy="842400"/>
          </a:xfrm>
        </p:spPr>
        <p:txBody>
          <a:bodyPr/>
          <a:lstStyle>
            <a:lvl1pPr>
              <a:defRPr sz="4800" baseline="0"/>
            </a:lvl1pPr>
          </a:lstStyle>
          <a:p>
            <a:r>
              <a:rPr lang="de-DE" dirty="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31051705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"/>
            <a:ext cx="12190413" cy="6858000"/>
          </a:xfrm>
          <a:prstGeom prst="rect">
            <a:avLst/>
          </a:prstGeom>
          <a:noFill/>
        </p:spPr>
      </p:pic>
      <p:pic>
        <p:nvPicPr>
          <p:cNvPr id="3" name="Bild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0108" y="2555018"/>
            <a:ext cx="2831422" cy="2008059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762" y="2558004"/>
            <a:ext cx="2493784" cy="2049523"/>
          </a:xfrm>
          <a:prstGeom prst="rect">
            <a:avLst/>
          </a:prstGeom>
        </p:spPr>
      </p:pic>
      <p:pic>
        <p:nvPicPr>
          <p:cNvPr id="5" name="Bild 4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2720" y="2549900"/>
            <a:ext cx="2138375" cy="1936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71985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gehen Lis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/>
          <p:cNvSpPr/>
          <p:nvPr userDrawn="1"/>
        </p:nvSpPr>
        <p:spPr>
          <a:xfrm>
            <a:off x="0" y="1620000"/>
            <a:ext cx="12190413" cy="4500000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feld 5"/>
          <p:cNvSpPr txBox="1"/>
          <p:nvPr userDrawn="1"/>
        </p:nvSpPr>
        <p:spPr>
          <a:xfrm>
            <a:off x="1537851" y="4669000"/>
            <a:ext cx="1681624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Registrierung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4035401" y="4669000"/>
            <a:ext cx="1681624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Antrag stell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6045153" y="4669001"/>
            <a:ext cx="2372778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Genehmigung und Vertragsschluss</a:t>
            </a:r>
          </a:p>
        </p:txBody>
      </p:sp>
      <p:sp>
        <p:nvSpPr>
          <p:cNvPr id="9" name="Textfeld 8"/>
          <p:cNvSpPr txBox="1"/>
          <p:nvPr userDrawn="1"/>
        </p:nvSpPr>
        <p:spPr>
          <a:xfrm>
            <a:off x="8877269" y="4669000"/>
            <a:ext cx="1681624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algn="ctr"/>
            <a:r>
              <a:rPr lang="de-DE" b="0" i="0" dirty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rPr>
              <a:t>Listung</a:t>
            </a:r>
          </a:p>
        </p:txBody>
      </p:sp>
      <p:sp>
        <p:nvSpPr>
          <p:cNvPr id="32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30" name="Rechteck 29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/>
          <p:cNvSpPr/>
          <p:nvPr userDrawn="1"/>
        </p:nvSpPr>
        <p:spPr>
          <a:xfrm>
            <a:off x="4915148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01377" y="2578564"/>
            <a:ext cx="1027545" cy="1027545"/>
          </a:xfrm>
          <a:prstGeom prst="rect">
            <a:avLst/>
          </a:prstGeom>
        </p:spPr>
      </p:pic>
      <p:pic>
        <p:nvPicPr>
          <p:cNvPr id="10" name="Bild 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877090" y="2584682"/>
            <a:ext cx="1131455" cy="1096818"/>
          </a:xfrm>
          <a:prstGeom prst="rect">
            <a:avLst/>
          </a:prstGeom>
        </p:spPr>
      </p:pic>
      <p:pic>
        <p:nvPicPr>
          <p:cNvPr id="11" name="Bild 10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811923" y="2608233"/>
            <a:ext cx="1050636" cy="1085273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073809" y="2629750"/>
            <a:ext cx="1131455" cy="992909"/>
          </a:xfrm>
          <a:prstGeom prst="rect">
            <a:avLst/>
          </a:prstGeom>
        </p:spPr>
      </p:pic>
      <p:cxnSp>
        <p:nvCxnSpPr>
          <p:cNvPr id="14" name="Gerade Verbindung 13"/>
          <p:cNvCxnSpPr/>
          <p:nvPr userDrawn="1"/>
        </p:nvCxnSpPr>
        <p:spPr>
          <a:xfrm>
            <a:off x="-127322" y="4259484"/>
            <a:ext cx="1255853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uppierung 15"/>
          <p:cNvGrpSpPr/>
          <p:nvPr userDrawn="1"/>
        </p:nvGrpSpPr>
        <p:grpSpPr>
          <a:xfrm>
            <a:off x="2152891" y="4016415"/>
            <a:ext cx="520861" cy="520861"/>
            <a:chOff x="2152891" y="4016415"/>
            <a:chExt cx="520861" cy="520861"/>
          </a:xfrm>
        </p:grpSpPr>
        <p:sp>
          <p:nvSpPr>
            <p:cNvPr id="15" name="Oval 14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1</a:t>
              </a:r>
            </a:p>
          </p:txBody>
        </p:sp>
      </p:grpSp>
      <p:grpSp>
        <p:nvGrpSpPr>
          <p:cNvPr id="23" name="Gruppierung 22"/>
          <p:cNvGrpSpPr/>
          <p:nvPr userDrawn="1"/>
        </p:nvGrpSpPr>
        <p:grpSpPr>
          <a:xfrm>
            <a:off x="4654718" y="4016415"/>
            <a:ext cx="520861" cy="520861"/>
            <a:chOff x="2152891" y="4016415"/>
            <a:chExt cx="520861" cy="520861"/>
          </a:xfrm>
        </p:grpSpPr>
        <p:sp>
          <p:nvSpPr>
            <p:cNvPr id="24" name="Oval 23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5" name="Textfeld 24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2</a:t>
              </a:r>
            </a:p>
          </p:txBody>
        </p:sp>
      </p:grpSp>
      <p:grpSp>
        <p:nvGrpSpPr>
          <p:cNvPr id="26" name="Gruppierung 25"/>
          <p:cNvGrpSpPr/>
          <p:nvPr userDrawn="1"/>
        </p:nvGrpSpPr>
        <p:grpSpPr>
          <a:xfrm>
            <a:off x="6971112" y="4016415"/>
            <a:ext cx="520861" cy="520861"/>
            <a:chOff x="2152891" y="4016415"/>
            <a:chExt cx="520861" cy="520861"/>
          </a:xfrm>
        </p:grpSpPr>
        <p:sp>
          <p:nvSpPr>
            <p:cNvPr id="27" name="Oval 26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8" name="Textfeld 27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3</a:t>
              </a:r>
            </a:p>
          </p:txBody>
        </p:sp>
      </p:grpSp>
      <p:grpSp>
        <p:nvGrpSpPr>
          <p:cNvPr id="29" name="Gruppierung 28"/>
          <p:cNvGrpSpPr/>
          <p:nvPr userDrawn="1"/>
        </p:nvGrpSpPr>
        <p:grpSpPr>
          <a:xfrm>
            <a:off x="9457651" y="4030190"/>
            <a:ext cx="520861" cy="520861"/>
            <a:chOff x="2152891" y="4016415"/>
            <a:chExt cx="520861" cy="520861"/>
          </a:xfrm>
        </p:grpSpPr>
        <p:sp>
          <p:nvSpPr>
            <p:cNvPr id="35" name="Oval 34"/>
            <p:cNvSpPr/>
            <p:nvPr userDrawn="1"/>
          </p:nvSpPr>
          <p:spPr>
            <a:xfrm>
              <a:off x="2152891" y="4016415"/>
              <a:ext cx="520861" cy="5208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6" name="Textfeld 35"/>
            <p:cNvSpPr txBox="1"/>
            <p:nvPr userDrawn="1"/>
          </p:nvSpPr>
          <p:spPr>
            <a:xfrm>
              <a:off x="2152891" y="4081198"/>
              <a:ext cx="520861" cy="384711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algn="ctr"/>
              <a:r>
                <a:rPr lang="de-DE" b="1" i="0" dirty="0">
                  <a:solidFill>
                    <a:srgbClr val="29BFA1"/>
                  </a:solidFill>
                  <a:latin typeface="Calibri" charset="0"/>
                  <a:ea typeface="Calibri" charset="0"/>
                  <a:cs typeface="Calibri" charset="0"/>
                </a:rPr>
                <a:t>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2168091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fik Cloud-Umge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Rechteck 27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3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8824" y="1361665"/>
            <a:ext cx="7189187" cy="4267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038538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2009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973819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9821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9" name="Rechteck 1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 userDrawn="1">
            <p:ph type="ctrTitle"/>
          </p:nvPr>
        </p:nvSpPr>
        <p:spPr>
          <a:xfrm>
            <a:off x="1523801" y="3397715"/>
            <a:ext cx="9142810" cy="1844792"/>
          </a:xfrm>
          <a:prstGeom prst="rect">
            <a:avLst/>
          </a:prstGeom>
        </p:spPr>
        <p:txBody>
          <a:bodyPr lIns="91431" tIns="45715" rIns="91431" bIns="45715" anchor="b">
            <a:normAutofit/>
          </a:bodyPr>
          <a:lstStyle>
            <a:lvl1pPr algn="ctr">
              <a:defRPr sz="4200" b="0" i="0"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523802" y="5334581"/>
            <a:ext cx="9142810" cy="546451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solidFill>
                  <a:schemeClr val="bg1">
                    <a:lumMod val="50000"/>
                  </a:schemeClr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154" indent="0" algn="ctr">
              <a:buNone/>
              <a:defRPr sz="2000"/>
            </a:lvl2pPr>
            <a:lvl3pPr marL="914309" indent="0" algn="ctr">
              <a:buNone/>
              <a:defRPr sz="1900"/>
            </a:lvl3pPr>
            <a:lvl4pPr marL="1371463" indent="0" algn="ctr">
              <a:buNone/>
              <a:defRPr sz="1600"/>
            </a:lvl4pPr>
            <a:lvl5pPr marL="1828617" indent="0" algn="ctr">
              <a:buNone/>
              <a:defRPr sz="1600"/>
            </a:lvl5pPr>
            <a:lvl6pPr marL="2285771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4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e-DE" dirty="0"/>
          </a:p>
        </p:txBody>
      </p:sp>
      <p:pic>
        <p:nvPicPr>
          <p:cNvPr id="23" name="Grafik 4"/>
          <p:cNvPicPr preferRelativeResize="0"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398874"/>
            <a:ext cx="1558845" cy="781744"/>
          </a:xfrm>
          <a:prstGeom prst="rect">
            <a:avLst/>
          </a:prstGeom>
        </p:spPr>
      </p:pic>
      <p:pic>
        <p:nvPicPr>
          <p:cNvPr id="4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7726" y="964756"/>
            <a:ext cx="4075205" cy="2452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8709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4221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59261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88532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327716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431352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588398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9536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think-cell Folie" r:id="rId5" imgW="360" imgH="360" progId="">
                  <p:embed/>
                </p:oleObj>
              </mc:Choice>
              <mc:Fallback>
                <p:oleObj name="think-cell Folie" r:id="rId5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95360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11764963" y="6654001"/>
            <a:ext cx="153868" cy="123111"/>
          </a:xfrm>
          <a:prstGeom prst="rect">
            <a:avLst/>
          </a:prstGeom>
        </p:spPr>
        <p:txBody>
          <a:bodyPr lIns="91431" tIns="45715" rIns="91431" bIns="45715"/>
          <a:lstStyle/>
          <a:p>
            <a:fld id="{880BADDE-CEDF-4108-ADCD-25C7E5D681A5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0" y="2"/>
            <a:ext cx="10260000" cy="1002135"/>
          </a:xfrm>
          <a:prstGeom prst="rect">
            <a:avLst/>
          </a:prstGeom>
        </p:spPr>
        <p:txBody>
          <a:bodyPr vert="horz" lIns="297529" tIns="33059" rIns="72000" bIns="0" rtlCol="0" anchor="b">
            <a:noAutofit/>
          </a:bodyPr>
          <a:lstStyle>
            <a:lvl1pPr>
              <a:defRPr sz="2800"/>
            </a:lvl1pPr>
          </a:lstStyle>
          <a:p>
            <a:r>
              <a:rPr lang="en-US" noProof="0" dirty="0"/>
              <a:t>Click to edit Master title style</a:t>
            </a:r>
          </a:p>
        </p:txBody>
      </p:sp>
      <p:sp>
        <p:nvSpPr>
          <p:cNvPr id="7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850160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69905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934639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38092" y="1260000"/>
            <a:ext cx="10514231" cy="468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grpSp>
        <p:nvGrpSpPr>
          <p:cNvPr id="7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8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9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16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17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8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9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20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9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58615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>
          <a:xfrm>
            <a:off x="0" y="-9433"/>
            <a:ext cx="12190413" cy="6867433"/>
          </a:xfrm>
          <a:prstGeom prst="rect">
            <a:avLst/>
          </a:prstGeom>
          <a:solidFill>
            <a:srgbClr val="2E394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91431" tIns="45715" rIns="91431" bIns="45715" rtlCol="0" anchor="ctr"/>
          <a:lstStyle/>
          <a:p>
            <a:pPr algn="ctr"/>
            <a:endParaRPr lang="de-DE">
              <a:solidFill>
                <a:schemeClr val="bg1"/>
              </a:solidFill>
            </a:endParaRPr>
          </a:p>
        </p:txBody>
      </p:sp>
      <p:sp>
        <p:nvSpPr>
          <p:cNvPr id="36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744713" y="1970769"/>
            <a:ext cx="8490837" cy="4105275"/>
          </a:xfrm>
          <a:prstGeom prst="rect">
            <a:avLst/>
          </a:prstGeom>
        </p:spPr>
        <p:txBody>
          <a:bodyPr/>
          <a:lstStyle>
            <a:lvl1pPr marL="342866" marR="0" indent="-342866" algn="l" defTabSz="914309" rtl="0" eaLnBrk="1" fontAlgn="auto" latinLnBrk="0" hangingPunct="1">
              <a:lnSpc>
                <a:spcPts val="3000"/>
              </a:lnSpc>
              <a:spcBef>
                <a:spcPts val="720"/>
              </a:spcBef>
              <a:spcAft>
                <a:spcPts val="0"/>
              </a:spcAft>
              <a:buClr>
                <a:schemeClr val="bg1"/>
              </a:buClr>
              <a:buSzTx/>
              <a:buFont typeface="Arial" panose="020B0604020202020204" pitchFamily="34" charset="0"/>
              <a:buChar char="•"/>
              <a:tabLst/>
              <a:defRPr sz="2400" b="0" i="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76" indent="-285722">
              <a:lnSpc>
                <a:spcPts val="3000"/>
              </a:lnSpc>
              <a:spcBef>
                <a:spcPts val="720"/>
              </a:spcBef>
              <a:buClr>
                <a:schemeClr val="bg1"/>
              </a:buClr>
              <a:buFont typeface="Arial" panose="020B0604020202020204" pitchFamily="34" charset="0"/>
              <a:buChar char="•"/>
              <a:defRPr sz="2400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2pPr>
            <a:lvl3pPr>
              <a:defRPr sz="2400">
                <a:solidFill>
                  <a:schemeClr val="bg1"/>
                </a:solidFill>
                <a:latin typeface="FagoOfficeSans"/>
              </a:defRPr>
            </a:lvl3pPr>
            <a:lvl4pPr>
              <a:defRPr sz="2400">
                <a:solidFill>
                  <a:schemeClr val="bg1"/>
                </a:solidFill>
                <a:latin typeface="FagoOfficeSans"/>
              </a:defRPr>
            </a:lvl4pPr>
            <a:lvl5pPr>
              <a:defRPr sz="2400">
                <a:solidFill>
                  <a:schemeClr val="bg1"/>
                </a:solidFill>
                <a:latin typeface="FagoOfficeSans"/>
              </a:defRPr>
            </a:lvl5pPr>
          </a:lstStyle>
          <a:p>
            <a:pPr lvl="0"/>
            <a:r>
              <a:rPr lang="de-DE" dirty="0"/>
              <a:t>Punkt 1</a:t>
            </a:r>
          </a:p>
          <a:p>
            <a:pPr marL="742876" marR="0" lvl="1" indent="-342866" algn="l" defTabSz="914309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bg1"/>
              </a:buClr>
              <a:buSzTx/>
              <a:tabLst/>
              <a:defRPr/>
            </a:pPr>
            <a:r>
              <a:rPr lang="de-DE" dirty="0"/>
              <a:t>Unterpunk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9" name="Rechteck 48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0" name="Rechteck 49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1" name="Rechteck 50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9404" y="546656"/>
            <a:ext cx="1727155" cy="916032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>
          <a:xfrm>
            <a:off x="720001" y="1080000"/>
            <a:ext cx="8515550" cy="734400"/>
          </a:xfrm>
          <a:prstGeom prst="rect">
            <a:avLst/>
          </a:prstGeom>
        </p:spPr>
        <p:txBody>
          <a:bodyPr/>
          <a:lstStyle>
            <a:lvl1pPr>
              <a:defRPr sz="4000"/>
            </a:lvl1pPr>
          </a:lstStyle>
          <a:p>
            <a:r>
              <a:rPr lang="de-DE" sz="3600" b="0" i="0" dirty="0">
                <a:solidFill>
                  <a:srgbClr val="29BFA1"/>
                </a:solidFill>
                <a:latin typeface="Cambria" charset="0"/>
                <a:ea typeface="Cambria" charset="0"/>
                <a:cs typeface="Cambria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4864807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35258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0"/>
          <p:cNvGrpSpPr>
            <a:grpSpLocks/>
          </p:cNvGrpSpPr>
          <p:nvPr userDrawn="1"/>
        </p:nvGrpSpPr>
        <p:grpSpPr bwMode="auto">
          <a:xfrm>
            <a:off x="0" y="3956"/>
            <a:ext cx="12202411" cy="96251"/>
            <a:chOff x="0" y="0"/>
            <a:chExt cx="11906" cy="95"/>
          </a:xfrm>
        </p:grpSpPr>
        <p:grpSp>
          <p:nvGrpSpPr>
            <p:cNvPr id="4" name="Group 47"/>
            <p:cNvGrpSpPr>
              <a:grpSpLocks/>
            </p:cNvGrpSpPr>
            <p:nvPr userDrawn="1"/>
          </p:nvGrpSpPr>
          <p:grpSpPr bwMode="auto">
            <a:xfrm>
              <a:off x="0" y="0"/>
              <a:ext cx="2204" cy="95"/>
              <a:chOff x="0" y="0"/>
              <a:chExt cx="2204" cy="95"/>
            </a:xfrm>
          </p:grpSpPr>
          <p:sp>
            <p:nvSpPr>
              <p:cNvPr id="15" name="Freeform 48"/>
              <p:cNvSpPr>
                <a:spLocks/>
              </p:cNvSpPr>
              <p:nvPr userDrawn="1"/>
            </p:nvSpPr>
            <p:spPr bwMode="auto">
              <a:xfrm>
                <a:off x="0" y="0"/>
                <a:ext cx="2204" cy="95"/>
              </a:xfrm>
              <a:custGeom>
                <a:avLst/>
                <a:gdLst>
                  <a:gd name="T0" fmla="*/ 0 w 2204"/>
                  <a:gd name="T1" fmla="*/ 95 h 95"/>
                  <a:gd name="T2" fmla="*/ 2204 w 2204"/>
                  <a:gd name="T3" fmla="*/ 95 h 95"/>
                  <a:gd name="T4" fmla="*/ 2204 w 2204"/>
                  <a:gd name="T5" fmla="*/ 0 h 95"/>
                  <a:gd name="T6" fmla="*/ 0 w 2204"/>
                  <a:gd name="T7" fmla="*/ 0 h 95"/>
                  <a:gd name="T8" fmla="*/ 0 w 2204"/>
                  <a:gd name="T9" fmla="*/ 95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04" h="95">
                    <a:moveTo>
                      <a:pt x="0" y="95"/>
                    </a:moveTo>
                    <a:lnTo>
                      <a:pt x="2204" y="95"/>
                    </a:lnTo>
                    <a:lnTo>
                      <a:pt x="220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0096C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5" name="Group 45"/>
            <p:cNvGrpSpPr>
              <a:grpSpLocks/>
            </p:cNvGrpSpPr>
            <p:nvPr userDrawn="1"/>
          </p:nvGrpSpPr>
          <p:grpSpPr bwMode="auto">
            <a:xfrm>
              <a:off x="2204" y="0"/>
              <a:ext cx="2083" cy="95"/>
              <a:chOff x="2204" y="0"/>
              <a:chExt cx="2083" cy="95"/>
            </a:xfrm>
          </p:grpSpPr>
          <p:sp>
            <p:nvSpPr>
              <p:cNvPr id="14" name="Freeform 46"/>
              <p:cNvSpPr>
                <a:spLocks/>
              </p:cNvSpPr>
              <p:nvPr userDrawn="1"/>
            </p:nvSpPr>
            <p:spPr bwMode="auto">
              <a:xfrm>
                <a:off x="2204" y="0"/>
                <a:ext cx="2083" cy="95"/>
              </a:xfrm>
              <a:custGeom>
                <a:avLst/>
                <a:gdLst>
                  <a:gd name="T0" fmla="+- 0 2204 2204"/>
                  <a:gd name="T1" fmla="*/ T0 w 2083"/>
                  <a:gd name="T2" fmla="*/ 95 h 95"/>
                  <a:gd name="T3" fmla="+- 0 4288 2204"/>
                  <a:gd name="T4" fmla="*/ T3 w 2083"/>
                  <a:gd name="T5" fmla="*/ 95 h 95"/>
                  <a:gd name="T6" fmla="+- 0 4288 2204"/>
                  <a:gd name="T7" fmla="*/ T6 w 2083"/>
                  <a:gd name="T8" fmla="*/ 0 h 95"/>
                  <a:gd name="T9" fmla="+- 0 2204 2204"/>
                  <a:gd name="T10" fmla="*/ T9 w 2083"/>
                  <a:gd name="T11" fmla="*/ 0 h 95"/>
                  <a:gd name="T12" fmla="+- 0 2204 2204"/>
                  <a:gd name="T13" fmla="*/ T12 w 2083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2083" h="95">
                    <a:moveTo>
                      <a:pt x="0" y="95"/>
                    </a:moveTo>
                    <a:lnTo>
                      <a:pt x="2084" y="95"/>
                    </a:lnTo>
                    <a:lnTo>
                      <a:pt x="2084" y="0"/>
                    </a:lnTo>
                    <a:lnTo>
                      <a:pt x="0" y="0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45BFE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6" name="Group 43"/>
            <p:cNvGrpSpPr>
              <a:grpSpLocks/>
            </p:cNvGrpSpPr>
            <p:nvPr userDrawn="1"/>
          </p:nvGrpSpPr>
          <p:grpSpPr bwMode="auto">
            <a:xfrm>
              <a:off x="4288" y="0"/>
              <a:ext cx="6046" cy="95"/>
              <a:chOff x="4288" y="0"/>
              <a:chExt cx="6046" cy="95"/>
            </a:xfrm>
          </p:grpSpPr>
          <p:sp>
            <p:nvSpPr>
              <p:cNvPr id="13" name="Freeform 44"/>
              <p:cNvSpPr>
                <a:spLocks/>
              </p:cNvSpPr>
              <p:nvPr userDrawn="1"/>
            </p:nvSpPr>
            <p:spPr bwMode="auto">
              <a:xfrm>
                <a:off x="4288" y="0"/>
                <a:ext cx="6046" cy="95"/>
              </a:xfrm>
              <a:custGeom>
                <a:avLst/>
                <a:gdLst>
                  <a:gd name="T0" fmla="+- 0 10334 4288"/>
                  <a:gd name="T1" fmla="*/ T0 w 6046"/>
                  <a:gd name="T2" fmla="*/ 95 h 95"/>
                  <a:gd name="T3" fmla="+- 0 4288 4288"/>
                  <a:gd name="T4" fmla="*/ T3 w 6046"/>
                  <a:gd name="T5" fmla="*/ 95 h 95"/>
                  <a:gd name="T6" fmla="+- 0 4288 4288"/>
                  <a:gd name="T7" fmla="*/ T6 w 6046"/>
                  <a:gd name="T8" fmla="*/ 0 h 95"/>
                  <a:gd name="T9" fmla="+- 0 10334 4288"/>
                  <a:gd name="T10" fmla="*/ T9 w 6046"/>
                  <a:gd name="T11" fmla="*/ 0 h 95"/>
                  <a:gd name="T12" fmla="+- 0 10334 4288"/>
                  <a:gd name="T13" fmla="*/ T12 w 6046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6046" h="95">
                    <a:moveTo>
                      <a:pt x="6046" y="95"/>
                    </a:moveTo>
                    <a:lnTo>
                      <a:pt x="0" y="95"/>
                    </a:lnTo>
                    <a:lnTo>
                      <a:pt x="0" y="0"/>
                    </a:lnTo>
                    <a:lnTo>
                      <a:pt x="6046" y="0"/>
                    </a:lnTo>
                    <a:lnTo>
                      <a:pt x="6046" y="95"/>
                    </a:lnTo>
                  </a:path>
                </a:pathLst>
              </a:custGeom>
              <a:solidFill>
                <a:srgbClr val="29BFA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7" name="Group 41"/>
            <p:cNvGrpSpPr>
              <a:grpSpLocks/>
            </p:cNvGrpSpPr>
            <p:nvPr userDrawn="1"/>
          </p:nvGrpSpPr>
          <p:grpSpPr bwMode="auto">
            <a:xfrm>
              <a:off x="10334" y="0"/>
              <a:ext cx="1572" cy="95"/>
              <a:chOff x="10334" y="0"/>
              <a:chExt cx="1572" cy="95"/>
            </a:xfrm>
          </p:grpSpPr>
          <p:sp>
            <p:nvSpPr>
              <p:cNvPr id="12" name="Freeform 42"/>
              <p:cNvSpPr>
                <a:spLocks/>
              </p:cNvSpPr>
              <p:nvPr userDrawn="1"/>
            </p:nvSpPr>
            <p:spPr bwMode="auto">
              <a:xfrm>
                <a:off x="10334" y="0"/>
                <a:ext cx="1572" cy="95"/>
              </a:xfrm>
              <a:custGeom>
                <a:avLst/>
                <a:gdLst>
                  <a:gd name="T0" fmla="+- 0 10334 10334"/>
                  <a:gd name="T1" fmla="*/ T0 w 1572"/>
                  <a:gd name="T2" fmla="*/ 95 h 95"/>
                  <a:gd name="T3" fmla="+- 0 11906 10334"/>
                  <a:gd name="T4" fmla="*/ T3 w 1572"/>
                  <a:gd name="T5" fmla="*/ 95 h 95"/>
                  <a:gd name="T6" fmla="+- 0 11906 10334"/>
                  <a:gd name="T7" fmla="*/ T6 w 1572"/>
                  <a:gd name="T8" fmla="*/ 0 h 95"/>
                  <a:gd name="T9" fmla="+- 0 10334 10334"/>
                  <a:gd name="T10" fmla="*/ T9 w 1572"/>
                  <a:gd name="T11" fmla="*/ 0 h 95"/>
                  <a:gd name="T12" fmla="+- 0 10334 10334"/>
                  <a:gd name="T13" fmla="*/ T12 w 1572"/>
                  <a:gd name="T14" fmla="*/ 95 h 95"/>
                </a:gdLst>
                <a:ahLst/>
                <a:cxnLst>
                  <a:cxn ang="0">
                    <a:pos x="T1" y="T2"/>
                  </a:cxn>
                  <a:cxn ang="0">
                    <a:pos x="T4" y="T5"/>
                  </a:cxn>
                  <a:cxn ang="0">
                    <a:pos x="T7" y="T8"/>
                  </a:cxn>
                  <a:cxn ang="0">
                    <a:pos x="T10" y="T11"/>
                  </a:cxn>
                  <a:cxn ang="0">
                    <a:pos x="T13" y="T14"/>
                  </a:cxn>
                </a:cxnLst>
                <a:rect l="0" t="0" r="r" b="b"/>
                <a:pathLst>
                  <a:path w="1572" h="95">
                    <a:moveTo>
                      <a:pt x="0" y="95"/>
                    </a:moveTo>
                    <a:lnTo>
                      <a:pt x="1572" y="95"/>
                    </a:lnTo>
                    <a:lnTo>
                      <a:pt x="1572" y="0"/>
                    </a:lnTo>
                    <a:lnTo>
                      <a:pt x="0" y="0"/>
                    </a:lnTo>
                    <a:lnTo>
                      <a:pt x="0" y="95"/>
                    </a:lnTo>
                  </a:path>
                </a:pathLst>
              </a:custGeom>
              <a:solidFill>
                <a:srgbClr val="82C77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grpSp>
        <p:nvGrpSpPr>
          <p:cNvPr id="8" name="Group 31"/>
          <p:cNvGrpSpPr>
            <a:grpSpLocks/>
          </p:cNvGrpSpPr>
          <p:nvPr userDrawn="1"/>
        </p:nvGrpSpPr>
        <p:grpSpPr bwMode="auto">
          <a:xfrm>
            <a:off x="1523802" y="6829880"/>
            <a:ext cx="9142810" cy="45719"/>
            <a:chOff x="1134" y="16804"/>
            <a:chExt cx="9921" cy="2"/>
          </a:xfrm>
        </p:grpSpPr>
        <p:grpSp>
          <p:nvGrpSpPr>
            <p:cNvPr id="9" name="Group 38"/>
            <p:cNvGrpSpPr>
              <a:grpSpLocks/>
            </p:cNvGrpSpPr>
            <p:nvPr userDrawn="1"/>
          </p:nvGrpSpPr>
          <p:grpSpPr bwMode="auto">
            <a:xfrm>
              <a:off x="1134" y="16804"/>
              <a:ext cx="9921" cy="2"/>
              <a:chOff x="1134" y="16804"/>
              <a:chExt cx="9921" cy="2"/>
            </a:xfrm>
          </p:grpSpPr>
          <p:sp>
            <p:nvSpPr>
              <p:cNvPr id="24" name="Freeform 39"/>
              <p:cNvSpPr>
                <a:spLocks/>
              </p:cNvSpPr>
              <p:nvPr userDrawn="1"/>
            </p:nvSpPr>
            <p:spPr bwMode="auto">
              <a:xfrm>
                <a:off x="1134" y="16804"/>
                <a:ext cx="9921" cy="2"/>
              </a:xfrm>
              <a:custGeom>
                <a:avLst/>
                <a:gdLst>
                  <a:gd name="T0" fmla="+- 0 1134 1134"/>
                  <a:gd name="T1" fmla="*/ T0 w 9921"/>
                  <a:gd name="T2" fmla="+- 0 11055 1134"/>
                  <a:gd name="T3" fmla="*/ T2 w 992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9921">
                    <a:moveTo>
                      <a:pt x="0" y="0"/>
                    </a:moveTo>
                    <a:lnTo>
                      <a:pt x="9921" y="0"/>
                    </a:lnTo>
                  </a:path>
                </a:pathLst>
              </a:custGeom>
              <a:noFill/>
              <a:ln w="44272">
                <a:solidFill>
                  <a:srgbClr val="0096C7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0" name="Group 36"/>
            <p:cNvGrpSpPr>
              <a:grpSpLocks/>
            </p:cNvGrpSpPr>
            <p:nvPr userDrawn="1"/>
          </p:nvGrpSpPr>
          <p:grpSpPr bwMode="auto">
            <a:xfrm>
              <a:off x="2974" y="16804"/>
              <a:ext cx="8081" cy="2"/>
              <a:chOff x="2974" y="16804"/>
              <a:chExt cx="8081" cy="2"/>
            </a:xfrm>
          </p:grpSpPr>
          <p:sp>
            <p:nvSpPr>
              <p:cNvPr id="23" name="Freeform 37"/>
              <p:cNvSpPr>
                <a:spLocks/>
              </p:cNvSpPr>
              <p:nvPr userDrawn="1"/>
            </p:nvSpPr>
            <p:spPr bwMode="auto">
              <a:xfrm>
                <a:off x="2974" y="16804"/>
                <a:ext cx="8081" cy="2"/>
              </a:xfrm>
              <a:custGeom>
                <a:avLst/>
                <a:gdLst>
                  <a:gd name="T0" fmla="+- 0 2974 2974"/>
                  <a:gd name="T1" fmla="*/ T0 w 8081"/>
                  <a:gd name="T2" fmla="+- 0 11055 2974"/>
                  <a:gd name="T3" fmla="*/ T2 w 8081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8081">
                    <a:moveTo>
                      <a:pt x="0" y="0"/>
                    </a:moveTo>
                    <a:lnTo>
                      <a:pt x="8081" y="0"/>
                    </a:lnTo>
                  </a:path>
                </a:pathLst>
              </a:custGeom>
              <a:noFill/>
              <a:ln w="44272">
                <a:solidFill>
                  <a:srgbClr val="45BFE5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1" name="Group 34"/>
            <p:cNvGrpSpPr>
              <a:grpSpLocks/>
            </p:cNvGrpSpPr>
            <p:nvPr userDrawn="1"/>
          </p:nvGrpSpPr>
          <p:grpSpPr bwMode="auto">
            <a:xfrm>
              <a:off x="4712" y="16804"/>
              <a:ext cx="5034" cy="2"/>
              <a:chOff x="4712" y="16804"/>
              <a:chExt cx="5034" cy="2"/>
            </a:xfrm>
          </p:grpSpPr>
          <p:sp>
            <p:nvSpPr>
              <p:cNvPr id="22" name="Freeform 35"/>
              <p:cNvSpPr>
                <a:spLocks/>
              </p:cNvSpPr>
              <p:nvPr userDrawn="1"/>
            </p:nvSpPr>
            <p:spPr bwMode="auto">
              <a:xfrm>
                <a:off x="4712" y="16804"/>
                <a:ext cx="5034" cy="2"/>
              </a:xfrm>
              <a:custGeom>
                <a:avLst/>
                <a:gdLst>
                  <a:gd name="T0" fmla="+- 0 4712 4712"/>
                  <a:gd name="T1" fmla="*/ T0 w 5034"/>
                  <a:gd name="T2" fmla="+- 0 9746 4712"/>
                  <a:gd name="T3" fmla="*/ T2 w 5034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5034">
                    <a:moveTo>
                      <a:pt x="0" y="0"/>
                    </a:moveTo>
                    <a:lnTo>
                      <a:pt x="5034" y="0"/>
                    </a:lnTo>
                  </a:path>
                </a:pathLst>
              </a:custGeom>
              <a:noFill/>
              <a:ln w="44272">
                <a:solidFill>
                  <a:srgbClr val="29BFA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  <p:grpSp>
          <p:nvGrpSpPr>
            <p:cNvPr id="16" name="Group 32"/>
            <p:cNvGrpSpPr>
              <a:grpSpLocks/>
            </p:cNvGrpSpPr>
            <p:nvPr userDrawn="1"/>
          </p:nvGrpSpPr>
          <p:grpSpPr bwMode="auto">
            <a:xfrm>
              <a:off x="9746" y="16804"/>
              <a:ext cx="1309" cy="2"/>
              <a:chOff x="9746" y="16804"/>
              <a:chExt cx="1309" cy="2"/>
            </a:xfrm>
          </p:grpSpPr>
          <p:sp>
            <p:nvSpPr>
              <p:cNvPr id="21" name="Freeform 33"/>
              <p:cNvSpPr>
                <a:spLocks/>
              </p:cNvSpPr>
              <p:nvPr userDrawn="1"/>
            </p:nvSpPr>
            <p:spPr bwMode="auto">
              <a:xfrm>
                <a:off x="9746" y="16804"/>
                <a:ext cx="1309" cy="2"/>
              </a:xfrm>
              <a:custGeom>
                <a:avLst/>
                <a:gdLst>
                  <a:gd name="T0" fmla="+- 0 9746 9746"/>
                  <a:gd name="T1" fmla="*/ T0 w 1309"/>
                  <a:gd name="T2" fmla="+- 0 11055 9746"/>
                  <a:gd name="T3" fmla="*/ T2 w 1309"/>
                </a:gdLst>
                <a:ahLst/>
                <a:cxnLst>
                  <a:cxn ang="0">
                    <a:pos x="T1" y="0"/>
                  </a:cxn>
                  <a:cxn ang="0">
                    <a:pos x="T3" y="0"/>
                  </a:cxn>
                </a:cxnLst>
                <a:rect l="0" t="0" r="r" b="b"/>
                <a:pathLst>
                  <a:path w="1309">
                    <a:moveTo>
                      <a:pt x="0" y="0"/>
                    </a:moveTo>
                    <a:lnTo>
                      <a:pt x="1309" y="0"/>
                    </a:lnTo>
                  </a:path>
                </a:pathLst>
              </a:custGeom>
              <a:noFill/>
              <a:ln w="44272">
                <a:solidFill>
                  <a:srgbClr val="82C778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de-DE" sz="1800" dirty="0"/>
              </a:p>
            </p:txBody>
          </p:sp>
        </p:grpSp>
      </p:grpSp>
      <p:sp>
        <p:nvSpPr>
          <p:cNvPr id="27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-25400" y="-114300"/>
            <a:ext cx="10260000" cy="1000800"/>
          </a:xfrm>
        </p:spPr>
        <p:txBody>
          <a:bodyPr lIns="298770" tIns="32397" rIns="72000" bIns="0"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2800">
                <a:solidFill>
                  <a:schemeClr val="tx1"/>
                </a:solidFill>
                <a:latin typeface="Merriweather" pitchFamily="18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28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4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218" rtl="0" eaLnBrk="1" latinLnBrk="0" hangingPunct="1">
              <a:defRPr lang="de-DE" sz="1200" kern="1200" smtClean="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</a:lstStyle>
          <a:p>
            <a:r>
              <a:rPr lang="de-DE"/>
              <a:t>BUBBLE_TC_LABEL_CK.PPTX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681162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5"/>
          <p:cNvPicPr preferRelativeResize="0">
            <a:picLocks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1260000"/>
            <a:ext cx="12190413" cy="5598000"/>
          </a:xfrm>
          <a:prstGeom prst="rect">
            <a:avLst/>
          </a:prstGeom>
        </p:spPr>
      </p:pic>
      <p:sp>
        <p:nvSpPr>
          <p:cNvPr id="36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838198" y="2462400"/>
            <a:ext cx="8805965" cy="3730056"/>
          </a:xfrm>
          <a:prstGeom prst="rect">
            <a:avLst/>
          </a:prstGeom>
        </p:spPr>
        <p:txBody>
          <a:bodyPr>
            <a:normAutofit/>
          </a:bodyPr>
          <a:lstStyle>
            <a:lvl1pPr marL="342866" marR="0" indent="-342866" algn="l" defTabSz="914309" rtl="0" eaLnBrk="1" fontAlgn="auto" latinLnBrk="0" hangingPunct="1">
              <a:lnSpc>
                <a:spcPts val="3000"/>
              </a:lnSpc>
              <a:spcBef>
                <a:spcPts val="72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b="0" i="0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42876" indent="-342866">
              <a:lnSpc>
                <a:spcPts val="3000"/>
              </a:lnSpc>
              <a:spcBef>
                <a:spcPts val="720"/>
              </a:spcBef>
              <a:buClrTx/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257174" indent="-342866"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FagoOfficeSans"/>
              </a:defRPr>
            </a:lvl3pPr>
            <a:lvl4pPr>
              <a:defRPr sz="2400">
                <a:solidFill>
                  <a:schemeClr val="tx1"/>
                </a:solidFill>
                <a:latin typeface="FagoOfficeSans"/>
              </a:defRPr>
            </a:lvl4pPr>
            <a:lvl5pPr>
              <a:defRPr sz="2400">
                <a:solidFill>
                  <a:schemeClr val="tx1"/>
                </a:solidFill>
                <a:latin typeface="FagoOfficeSans"/>
              </a:defRPr>
            </a:lvl5pPr>
          </a:lstStyle>
          <a:p>
            <a:pPr lvl="0"/>
            <a:r>
              <a:rPr lang="de-DE" dirty="0"/>
              <a:t>Punkt 1</a:t>
            </a:r>
          </a:p>
          <a:p>
            <a:pPr lvl="1"/>
            <a:r>
              <a:rPr lang="de-DE" dirty="0"/>
              <a:t>Unterpunkt</a:t>
            </a:r>
          </a:p>
          <a:p>
            <a:pPr lvl="2"/>
            <a:endParaRPr lang="de-DE" dirty="0"/>
          </a:p>
        </p:txBody>
      </p:sp>
      <p:sp>
        <p:nvSpPr>
          <p:cNvPr id="39" name="Rechteck 38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Rechteck 41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0" name="Grafik 4"/>
          <p:cNvPicPr preferRelativeResize="0"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294699"/>
            <a:ext cx="1558845" cy="78174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199" y="1620000"/>
            <a:ext cx="8805965" cy="842400"/>
          </a:xfrm>
        </p:spPr>
        <p:txBody>
          <a:bodyPr/>
          <a:lstStyle>
            <a:lvl1pPr>
              <a:defRPr>
                <a:solidFill>
                  <a:srgbClr val="29BFA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468177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mit Streif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20001" y="720000"/>
            <a:ext cx="9176354" cy="749985"/>
          </a:xfrm>
          <a:prstGeom prst="rect">
            <a:avLst/>
          </a:prstGeom>
        </p:spPr>
        <p:txBody>
          <a:bodyPr lIns="0" tIns="0" rIns="0" bIns="0"/>
          <a:lstStyle>
            <a:lvl1pPr>
              <a:defRPr sz="3200">
                <a:latin typeface="Cambria" charset="0"/>
                <a:ea typeface="Cambria" charset="0"/>
                <a:cs typeface="Cambria" charset="0"/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25" name="Rechteck 24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720000" y="1620000"/>
            <a:ext cx="9176355" cy="4320000"/>
          </a:xfrm>
        </p:spPr>
        <p:txBody>
          <a:bodyPr lIns="0" tIns="0" rIns="0" bIns="0"/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27859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_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8"/>
          <p:cNvSpPr>
            <a:spLocks noGrp="1"/>
          </p:cNvSpPr>
          <p:nvPr>
            <p:ph type="pic" sz="quarter" idx="14"/>
          </p:nvPr>
        </p:nvSpPr>
        <p:spPr>
          <a:xfrm>
            <a:off x="0" y="1440000"/>
            <a:ext cx="12190413" cy="5436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800">
                <a:latin typeface="Cambria" charset="0"/>
                <a:ea typeface="Cambria" charset="0"/>
                <a:cs typeface="Cambria" charset="0"/>
              </a:defRPr>
            </a:lvl1pPr>
            <a:lvl2pPr>
              <a:defRPr>
                <a:latin typeface="FagoOfficeSans" panose="02000506040000020004" pitchFamily="2" charset="0"/>
              </a:defRPr>
            </a:lvl2pPr>
            <a:lvl3pPr>
              <a:defRPr>
                <a:latin typeface="FagoOfficeSans" panose="02000506040000020004" pitchFamily="2" charset="0"/>
              </a:defRPr>
            </a:lvl3pPr>
            <a:lvl4pPr>
              <a:defRPr>
                <a:latin typeface="FagoOfficeSans" panose="02000506040000020004" pitchFamily="2" charset="0"/>
              </a:defRPr>
            </a:lvl4pPr>
            <a:lvl5pPr>
              <a:defRPr>
                <a:latin typeface="FagoOfficeSans" panose="02000506040000020004" pitchFamily="2" charset="0"/>
              </a:defRPr>
            </a:lvl5pPr>
          </a:lstStyle>
          <a:p>
            <a:pPr lvl="0"/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4" name="Rechteck 23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1817216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20000" y="1620000"/>
            <a:ext cx="5180400" cy="4320000"/>
          </a:xfrm>
        </p:spPr>
        <p:txBody>
          <a:bodyPr>
            <a:normAutofit/>
          </a:bodyPr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  <p:sp>
        <p:nvSpPr>
          <p:cNvPr id="36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7200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37" name="Rechteck 36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11" name="Inhaltsplatzhalter 2"/>
          <p:cNvSpPr>
            <a:spLocks noGrp="1"/>
          </p:cNvSpPr>
          <p:nvPr>
            <p:ph sz="half" idx="10"/>
          </p:nvPr>
        </p:nvSpPr>
        <p:spPr>
          <a:xfrm>
            <a:off x="6247643" y="1620000"/>
            <a:ext cx="5180400" cy="4320000"/>
          </a:xfrm>
        </p:spPr>
        <p:txBody>
          <a:bodyPr>
            <a:normAutofit/>
          </a:bodyPr>
          <a:lstStyle>
            <a:lvl1pPr>
              <a:defRPr b="0" i="0">
                <a:latin typeface="Calibri" charset="0"/>
                <a:ea typeface="Calibri" charset="0"/>
                <a:cs typeface="Calibri" charset="0"/>
              </a:defRPr>
            </a:lvl1pPr>
            <a:lvl2pPr>
              <a:defRPr b="0" i="0">
                <a:latin typeface="Calibri" charset="0"/>
                <a:ea typeface="Calibri" charset="0"/>
                <a:cs typeface="Calibri" charset="0"/>
              </a:defRPr>
            </a:lvl2pPr>
            <a:lvl3pPr>
              <a:defRPr b="0" i="0">
                <a:latin typeface="Calibri" charset="0"/>
                <a:ea typeface="Calibri" charset="0"/>
                <a:cs typeface="Calibri" charset="0"/>
              </a:defRPr>
            </a:lvl3pPr>
            <a:lvl4pPr>
              <a:defRPr b="0" i="0">
                <a:latin typeface="Calibri" charset="0"/>
                <a:ea typeface="Calibri" charset="0"/>
                <a:cs typeface="Calibri" charset="0"/>
              </a:defRPr>
            </a:lvl4pPr>
            <a:lvl5pPr>
              <a:defRPr b="0" i="0"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25148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564477" y="1736202"/>
            <a:ext cx="5616667" cy="4211517"/>
          </a:xfrm>
        </p:spPr>
        <p:txBody>
          <a:bodyPr/>
          <a:lstStyle>
            <a:lvl1pPr marL="0" indent="0">
              <a:buNone/>
              <a:defRPr sz="3200"/>
            </a:lvl1pPr>
            <a:lvl2pPr marL="457154" indent="0">
              <a:buNone/>
              <a:defRPr sz="2800"/>
            </a:lvl2pPr>
            <a:lvl3pPr marL="914309" indent="0">
              <a:buNone/>
              <a:defRPr sz="2400"/>
            </a:lvl3pPr>
            <a:lvl4pPr marL="1371463" indent="0">
              <a:buNone/>
              <a:defRPr sz="2000"/>
            </a:lvl4pPr>
            <a:lvl5pPr marL="1828617" indent="0">
              <a:buNone/>
              <a:defRPr sz="2000"/>
            </a:lvl5pPr>
            <a:lvl6pPr marL="2285771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4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724347" y="2835796"/>
            <a:ext cx="4588433" cy="3111923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  <a:lvl2pPr marL="457154" indent="0">
              <a:buNone/>
              <a:defRPr sz="1500"/>
            </a:lvl2pPr>
            <a:lvl3pPr marL="914309" indent="0">
              <a:buNone/>
              <a:defRPr sz="1200"/>
            </a:lvl3pPr>
            <a:lvl4pPr marL="1371463" indent="0">
              <a:buNone/>
              <a:defRPr sz="1100"/>
            </a:lvl4pPr>
            <a:lvl5pPr marL="1828617" indent="0">
              <a:buNone/>
              <a:defRPr sz="1100"/>
            </a:lvl5pPr>
            <a:lvl6pPr marL="2285771" indent="0">
              <a:buNone/>
              <a:defRPr sz="1100"/>
            </a:lvl6pPr>
            <a:lvl7pPr marL="2742926" indent="0">
              <a:buNone/>
              <a:defRPr sz="1100"/>
            </a:lvl7pPr>
            <a:lvl8pPr marL="3200080" indent="0">
              <a:buNone/>
              <a:defRPr sz="1100"/>
            </a:lvl8pPr>
            <a:lvl9pPr marL="3657234" indent="0">
              <a:buNone/>
              <a:defRPr sz="11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8388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37" name="Rechteck 36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Rechteck 37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Rechteck 38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Text Placeholder 25"/>
          <p:cNvSpPr>
            <a:spLocks noGrp="1"/>
          </p:cNvSpPr>
          <p:nvPr>
            <p:ph type="body" sz="quarter" idx="15"/>
          </p:nvPr>
        </p:nvSpPr>
        <p:spPr>
          <a:xfrm>
            <a:off x="720000" y="1736202"/>
            <a:ext cx="4314987" cy="884597"/>
          </a:xfrm>
        </p:spPr>
        <p:txBody>
          <a:bodyPr lIns="0" tIns="32397" rIns="72000" bIns="0" anchor="t" anchorCtr="0">
            <a:noAutofit/>
          </a:bodyPr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2pPr>
            <a:lvl3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3pPr>
            <a:lvl4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4pPr>
            <a:lvl5pPr indent="0">
              <a:spcBef>
                <a:spcPts val="600"/>
              </a:spcBef>
              <a:defRPr sz="2400">
                <a:solidFill>
                  <a:srgbClr val="29BFA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201130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entitel mit Verzeichnis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12190413" cy="6090559"/>
          </a:xfrm>
          <a:prstGeom prst="rect">
            <a:avLst/>
          </a:prstGeom>
        </p:spPr>
      </p:pic>
      <p:sp>
        <p:nvSpPr>
          <p:cNvPr id="7" name="Textfeld 6"/>
          <p:cNvSpPr txBox="1"/>
          <p:nvPr userDrawn="1"/>
        </p:nvSpPr>
        <p:spPr>
          <a:xfrm>
            <a:off x="2268889" y="2415247"/>
            <a:ext cx="8742812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Erster Punkt | Einzeilig | Maecenas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0" i="0" u="none" strike="noStrike" kern="1200" baseline="0" dirty="0" err="1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endParaRPr lang="de-DE" b="0" i="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6" name="Textfeld 35"/>
          <p:cNvSpPr txBox="1"/>
          <p:nvPr userDrawn="1"/>
        </p:nvSpPr>
        <p:spPr>
          <a:xfrm>
            <a:off x="2268889" y="3276057"/>
            <a:ext cx="8742812" cy="677098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Zweiter Punkt | Aktiv | Zweizeilig | Maecenas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tempus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tellus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eget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condimentum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rhoncus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,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sem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quam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semper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libero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sit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amet</a:t>
            </a:r>
            <a:r>
              <a:rPr lang="de-DE" sz="1900" b="1" i="0" u="none" strike="noStrike" kern="1200" baseline="0" dirty="0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de-DE" sz="1900" b="1" i="0" u="none" strike="noStrike" kern="1200" baseline="0" dirty="0" err="1">
                <a:solidFill>
                  <a:srgbClr val="29BFA1"/>
                </a:solidFill>
                <a:latin typeface="Calibri" charset="0"/>
                <a:ea typeface="Calibri" charset="0"/>
                <a:cs typeface="Calibri" charset="0"/>
              </a:rPr>
              <a:t>adipiscing</a:t>
            </a:r>
            <a:endParaRPr lang="de-DE" b="1" i="0" dirty="0">
              <a:solidFill>
                <a:srgbClr val="29BFA1"/>
              </a:solidFill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7" name="Textfeld 36"/>
          <p:cNvSpPr txBox="1"/>
          <p:nvPr userDrawn="1"/>
        </p:nvSpPr>
        <p:spPr>
          <a:xfrm>
            <a:off x="2268889" y="4401967"/>
            <a:ext cx="8742812" cy="384711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de-DE" sz="1900" b="0" i="0" u="none" strike="noStrike" kern="1200" baseline="0" dirty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rPr>
              <a:t>Dritter Punkt</a:t>
            </a:r>
            <a:endParaRPr lang="de-DE" b="0" i="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39" name="Rechteck 38"/>
          <p:cNvSpPr/>
          <p:nvPr userDrawn="1"/>
        </p:nvSpPr>
        <p:spPr>
          <a:xfrm>
            <a:off x="1523801" y="6787781"/>
            <a:ext cx="1695674" cy="70219"/>
          </a:xfrm>
          <a:prstGeom prst="rect">
            <a:avLst/>
          </a:prstGeom>
          <a:solidFill>
            <a:srgbClr val="0096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0" name="Rechteck 39"/>
          <p:cNvSpPr/>
          <p:nvPr userDrawn="1"/>
        </p:nvSpPr>
        <p:spPr>
          <a:xfrm>
            <a:off x="3219475" y="6787781"/>
            <a:ext cx="1695674" cy="70219"/>
          </a:xfrm>
          <a:prstGeom prst="rect">
            <a:avLst/>
          </a:prstGeom>
          <a:solidFill>
            <a:srgbClr val="45BF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1" name="Rechteck 40"/>
          <p:cNvSpPr/>
          <p:nvPr userDrawn="1"/>
        </p:nvSpPr>
        <p:spPr>
          <a:xfrm>
            <a:off x="4915149" y="6787781"/>
            <a:ext cx="4055788" cy="70219"/>
          </a:xfrm>
          <a:prstGeom prst="rect">
            <a:avLst/>
          </a:prstGeom>
          <a:solidFill>
            <a:srgbClr val="29BFA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2" name="Rechteck 41"/>
          <p:cNvSpPr/>
          <p:nvPr userDrawn="1"/>
        </p:nvSpPr>
        <p:spPr>
          <a:xfrm>
            <a:off x="8970937" y="6787781"/>
            <a:ext cx="1695674" cy="70219"/>
          </a:xfrm>
          <a:prstGeom prst="rect">
            <a:avLst/>
          </a:prstGeom>
          <a:solidFill>
            <a:srgbClr val="82C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43" name="Bild 4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801" y="301122"/>
            <a:ext cx="1357541" cy="720000"/>
          </a:xfrm>
          <a:prstGeom prst="rect">
            <a:avLst/>
          </a:prstGeom>
        </p:spPr>
      </p:pic>
      <p:pic>
        <p:nvPicPr>
          <p:cNvPr id="44" name="Bild 4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158" y="2358097"/>
            <a:ext cx="483630" cy="483630"/>
          </a:xfrm>
          <a:prstGeom prst="rect">
            <a:avLst/>
          </a:prstGeom>
        </p:spPr>
      </p:pic>
      <p:pic>
        <p:nvPicPr>
          <p:cNvPr id="45" name="Bild 4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158" y="3372791"/>
            <a:ext cx="483630" cy="483630"/>
          </a:xfrm>
          <a:prstGeom prst="rect">
            <a:avLst/>
          </a:prstGeom>
        </p:spPr>
      </p:pic>
      <p:pic>
        <p:nvPicPr>
          <p:cNvPr id="47" name="Bild 4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158" y="4347332"/>
            <a:ext cx="483630" cy="48363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Ort | Datum | Copyright © Trusted Cloud 2016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4098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0801" y="301122"/>
            <a:ext cx="1357541" cy="720000"/>
          </a:xfrm>
          <a:prstGeom prst="rect">
            <a:avLst/>
          </a:prstGeom>
        </p:spPr>
      </p:pic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0000" y="1800000"/>
            <a:ext cx="9640801" cy="432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Fußzeilenplatzhalter 9"/>
          <p:cNvSpPr>
            <a:spLocks noGrp="1"/>
          </p:cNvSpPr>
          <p:nvPr userDrawn="1">
            <p:ph type="ftr" sz="quarter" idx="3"/>
          </p:nvPr>
        </p:nvSpPr>
        <p:spPr>
          <a:xfrm>
            <a:off x="720000" y="6356352"/>
            <a:ext cx="4114264" cy="365125"/>
          </a:xfrm>
          <a:prstGeom prst="rect">
            <a:avLst/>
          </a:prstGeom>
        </p:spPr>
        <p:txBody>
          <a:bodyPr vert="horz" lIns="91431" tIns="45715" rIns="91431" bIns="45715" rtlCol="0" anchor="ctr"/>
          <a:lstStyle>
            <a:lvl1pPr marL="0" algn="l" defTabSz="914309" rtl="0" eaLnBrk="1" latinLnBrk="0" hangingPunct="1">
              <a:defRPr lang="de-DE" sz="1200" b="0" i="0" kern="1200" smtClean="0">
                <a:solidFill>
                  <a:srgbClr val="40B39B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Ort | Datum | Copyright © Trusted Cloud 2016</a:t>
            </a:r>
          </a:p>
        </p:txBody>
      </p:sp>
      <p:sp>
        <p:nvSpPr>
          <p:cNvPr id="12" name="Foliennummernplatzhalter 3"/>
          <p:cNvSpPr txBox="1">
            <a:spLocks/>
          </p:cNvSpPr>
          <p:nvPr userDrawn="1"/>
        </p:nvSpPr>
        <p:spPr>
          <a:xfrm>
            <a:off x="10808108" y="6357600"/>
            <a:ext cx="462925" cy="279180"/>
          </a:xfrm>
          <a:prstGeom prst="rect">
            <a:avLst/>
          </a:prstGeom>
          <a:noFill/>
        </p:spPr>
        <p:txBody>
          <a:bodyPr wrap="none" lIns="90000" tIns="46800" rIns="90000" bIns="46800" rtlCol="0" anchor="ctr">
            <a:spAutoFit/>
          </a:bodyPr>
          <a:lstStyle/>
          <a:p>
            <a:pPr marL="0" marR="0" lvl="0" indent="0" algn="ctr" defTabSz="95775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0BADDE-CEDF-4108-ADCD-25C7E5D681A5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29BFA1"/>
                </a:solidFill>
                <a:effectLst/>
                <a:uLnTx/>
                <a:uFillTx/>
                <a:latin typeface="Calibri" charset="0"/>
                <a:ea typeface="Calibri" charset="0"/>
                <a:cs typeface="Calibri" charset="0"/>
              </a:rPr>
              <a:pPr marL="0" marR="0" lvl="0" indent="0" algn="ctr" defTabSz="95775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29BFA1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720000" y="720000"/>
            <a:ext cx="8805965" cy="842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88568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80" r:id="rId3"/>
    <p:sldLayoutId id="2147483681" r:id="rId4"/>
    <p:sldLayoutId id="2147483689" r:id="rId5"/>
    <p:sldLayoutId id="2147483679" r:id="rId6"/>
    <p:sldLayoutId id="2147483665" r:id="rId7"/>
    <p:sldLayoutId id="2147483670" r:id="rId8"/>
    <p:sldLayoutId id="2147483677" r:id="rId9"/>
    <p:sldLayoutId id="2147483671" r:id="rId10"/>
    <p:sldLayoutId id="2147483664" r:id="rId11"/>
    <p:sldLayoutId id="2147483682" r:id="rId12"/>
    <p:sldLayoutId id="2147483684" r:id="rId13"/>
    <p:sldLayoutId id="2147483672" r:id="rId14"/>
    <p:sldLayoutId id="2147483673" r:id="rId15"/>
    <p:sldLayoutId id="2147483676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rgbClr val="29BFA1"/>
          </a:solidFill>
          <a:latin typeface="Cambria" charset="0"/>
          <a:ea typeface="Cambria" charset="0"/>
          <a:cs typeface="Cambria" charset="0"/>
        </a:defRPr>
      </a:lvl1pPr>
    </p:titleStyle>
    <p:bodyStyle>
      <a:lvl1pPr marL="228577" indent="-228577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1pPr>
      <a:lvl2pPr marL="68573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2pPr>
      <a:lvl3pPr marL="1142886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3pPr>
      <a:lvl4pPr marL="1600040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4pPr>
      <a:lvl5pPr marL="2057194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b="0" i="0" kern="1200">
          <a:solidFill>
            <a:schemeClr val="tx1"/>
          </a:solidFill>
          <a:latin typeface="Calibri" charset="0"/>
          <a:ea typeface="Calibri" charset="0"/>
          <a:cs typeface="Calibri" charset="0"/>
        </a:defRPr>
      </a:lvl5pPr>
      <a:lvl6pPr marL="2514349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7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3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7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1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09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rusted-cloud.de/" TargetMode="Externa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hyperlink" Target="mailto:info@trusted-cloud.de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066661" y="3397719"/>
            <a:ext cx="10057090" cy="1844552"/>
          </a:xfrm>
        </p:spPr>
        <p:txBody>
          <a:bodyPr>
            <a:normAutofit/>
          </a:bodyPr>
          <a:lstStyle/>
          <a:p>
            <a:r>
              <a:rPr lang="de-DE" dirty="0"/>
              <a:t>Vertrauenswürdige Cloud Services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>
            <a:noAutofit/>
          </a:bodyPr>
          <a:lstStyle/>
          <a:p>
            <a:r>
              <a:rPr lang="de-DE" sz="1900" dirty="0"/>
              <a:t>Warum gerade Handwerksunternehmen </a:t>
            </a:r>
          </a:p>
          <a:p>
            <a:r>
              <a:rPr lang="de-DE" sz="1900" dirty="0"/>
              <a:t>von Anwendungen aus der Cloud profitieren können!</a:t>
            </a:r>
          </a:p>
        </p:txBody>
      </p:sp>
    </p:spTree>
    <p:extLst>
      <p:ext uri="{BB962C8B-B14F-4D97-AF65-F5344CB8AC3E}">
        <p14:creationId xmlns:p14="http://schemas.microsoft.com/office/powerpoint/2010/main" val="74467282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789451" y="2105419"/>
            <a:ext cx="5180925" cy="3834254"/>
          </a:xfrm>
          <a:prstGeom prst="rect">
            <a:avLst/>
          </a:prstGeom>
          <a:solidFill>
            <a:srgbClr val="82C778"/>
          </a:solidFill>
        </p:spPr>
        <p:txBody>
          <a:bodyPr anchor="ctr">
            <a:normAutofit fontScale="90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599" dirty="0">
                <a:solidFill>
                  <a:schemeClr val="bg1"/>
                </a:solidFill>
              </a:rPr>
              <a:t>Wer viel arbeitet hat keine Zeit um Geld zu verdienen!</a:t>
            </a:r>
            <a:endParaRPr lang="de-DE" sz="6599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roblemfeld 3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789451" y="2105417"/>
            <a:ext cx="5214382" cy="3834255"/>
            <a:chOff x="838200" y="2105245"/>
            <a:chExt cx="5215061" cy="3834754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8200" y="2105245"/>
              <a:ext cx="5181600" cy="3834754"/>
            </a:xfrm>
            <a:prstGeom prst="rect">
              <a:avLst/>
            </a:prstGeom>
          </p:spPr>
        </p:pic>
        <p:sp>
          <p:nvSpPr>
            <p:cNvPr id="2" name="Rechteck 1"/>
            <p:cNvSpPr/>
            <p:nvPr/>
          </p:nvSpPr>
          <p:spPr>
            <a:xfrm>
              <a:off x="4017063" y="5632222"/>
              <a:ext cx="203619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>
                  <a:solidFill>
                    <a:schemeClr val="accent6"/>
                  </a:solidFill>
                </a:rPr>
                <a:t>Rainer Sturm  / pixelio.de</a:t>
              </a:r>
            </a:p>
          </p:txBody>
        </p:sp>
      </p:grpSp>
      <p:sp>
        <p:nvSpPr>
          <p:cNvPr id="12" name="Inhaltsplatzhalter 6"/>
          <p:cNvSpPr>
            <a:spLocks noGrp="1"/>
          </p:cNvSpPr>
          <p:nvPr>
            <p:ph sz="half" idx="4294967295"/>
          </p:nvPr>
        </p:nvSpPr>
        <p:spPr>
          <a:xfrm>
            <a:off x="6171396" y="2105419"/>
            <a:ext cx="5180925" cy="3834254"/>
          </a:xfrm>
        </p:spPr>
        <p:txBody>
          <a:bodyPr wrap="square">
            <a:noAutofit/>
          </a:bodyPr>
          <a:lstStyle/>
          <a:p>
            <a:r>
              <a:rPr lang="de-DE" sz="2100" dirty="0"/>
              <a:t>Die Nebenschauplätze kosten zu viel Zeit!</a:t>
            </a:r>
          </a:p>
          <a:p>
            <a:r>
              <a:rPr lang="de-DE" sz="2100" dirty="0"/>
              <a:t>Es wäre schön wenn man sich auf die Arbeit konzentrieren könnte!</a:t>
            </a:r>
          </a:p>
          <a:p>
            <a:r>
              <a:rPr lang="de-DE" sz="2100" dirty="0"/>
              <a:t>Kunden mit Sonderwünschen sind nachher unzufrieden, weil‘s ja mehr Geld kostet, auch wenn Sie gute Arbeit geleistet haben!</a:t>
            </a:r>
          </a:p>
          <a:p>
            <a:r>
              <a:rPr lang="de-DE" sz="2100" dirty="0"/>
              <a:t>Wenn man mehr Zeit hätte, könnte man auch über den Tellerrand schauen und überlegen was man sonst noch tun kann.</a:t>
            </a:r>
          </a:p>
        </p:txBody>
      </p:sp>
    </p:spTree>
    <p:extLst>
      <p:ext uri="{BB962C8B-B14F-4D97-AF65-F5344CB8AC3E}">
        <p14:creationId xmlns:p14="http://schemas.microsoft.com/office/powerpoint/2010/main" val="3614022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 txBox="1">
            <a:spLocks/>
          </p:cNvSpPr>
          <p:nvPr/>
        </p:nvSpPr>
        <p:spPr>
          <a:xfrm>
            <a:off x="838091" y="973201"/>
            <a:ext cx="10514231" cy="13292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14" name="Abgerundetes Rechteck 18"/>
          <p:cNvSpPr/>
          <p:nvPr/>
        </p:nvSpPr>
        <p:spPr>
          <a:xfrm>
            <a:off x="949903" y="5106178"/>
            <a:ext cx="10211449" cy="1163630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Bei Handwerkern und kleinen Unternehmen </a:t>
            </a:r>
            <a:b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wird ein hohes Potential nicht genutzt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Das Problem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>
                <a:solidFill>
                  <a:srgbClr val="40B39B"/>
                </a:solidFill>
              </a:rPr>
              <a:t>info@trusted-cloud.de</a:t>
            </a:r>
          </a:p>
        </p:txBody>
      </p:sp>
      <p:sp>
        <p:nvSpPr>
          <p:cNvPr id="10" name="Inhaltsplatzhalter 4"/>
          <p:cNvSpPr txBox="1">
            <a:spLocks/>
          </p:cNvSpPr>
          <p:nvPr/>
        </p:nvSpPr>
        <p:spPr>
          <a:xfrm>
            <a:off x="838091" y="2302471"/>
            <a:ext cx="10514231" cy="2658949"/>
          </a:xfrm>
          <a:prstGeom prst="rect">
            <a:avLst/>
          </a:prstGeom>
        </p:spPr>
        <p:txBody>
          <a:bodyPr>
            <a:norm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latin typeface="Calibri "/>
              </a:rPr>
              <a:t>Über 3 Millionen kleine Unternehmen nutzen Ihr Potential nicht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Verpasste Chancen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Niedergang und „Überalterung“ von Kleinstunternehmen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Geringere Attraktivität für Mitarbeiter und Auszubildende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Calibri "/>
              </a:rPr>
              <a:t> Verringerung der Unternehmensanzahl</a:t>
            </a:r>
          </a:p>
          <a:p>
            <a:endParaRPr lang="de-DE" dirty="0">
              <a:solidFill>
                <a:schemeClr val="tx2">
                  <a:lumMod val="75000"/>
                </a:schemeClr>
              </a:solidFill>
              <a:latin typeface="Calibri "/>
            </a:endParaRPr>
          </a:p>
          <a:p>
            <a:pPr marL="0" indent="0">
              <a:buNone/>
            </a:pPr>
            <a:endParaRPr lang="de-DE" dirty="0">
              <a:solidFill>
                <a:schemeClr val="tx2">
                  <a:lumMod val="75000"/>
                </a:schemeClr>
              </a:solidFill>
              <a:latin typeface="Calibri "/>
            </a:endParaRPr>
          </a:p>
        </p:txBody>
      </p:sp>
    </p:spTree>
    <p:extLst>
      <p:ext uri="{BB962C8B-B14F-4D97-AF65-F5344CB8AC3E}">
        <p14:creationId xmlns:p14="http://schemas.microsoft.com/office/powerpoint/2010/main" val="105903980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pieren 18"/>
          <p:cNvGrpSpPr/>
          <p:nvPr/>
        </p:nvGrpSpPr>
        <p:grpSpPr>
          <a:xfrm>
            <a:off x="3481918" y="3338337"/>
            <a:ext cx="2428145" cy="3018013"/>
            <a:chOff x="4827380" y="2061975"/>
            <a:chExt cx="2428461" cy="3018406"/>
          </a:xfrm>
        </p:grpSpPr>
        <p:sp>
          <p:nvSpPr>
            <p:cNvPr id="20" name="Freihandform: Form 19"/>
            <p:cNvSpPr/>
            <p:nvPr/>
          </p:nvSpPr>
          <p:spPr>
            <a:xfrm rot="16200000">
              <a:off x="4506177" y="2383178"/>
              <a:ext cx="3018406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4902230"/>
                <a:satOff val="-6819"/>
                <a:lumOff val="-2615"/>
                <a:alphaOff val="0"/>
              </a:schemeClr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21" name="Freihandform: Form 20"/>
            <p:cNvSpPr/>
            <p:nvPr/>
          </p:nvSpPr>
          <p:spPr>
            <a:xfrm>
              <a:off x="4961144" y="2911442"/>
              <a:ext cx="2294697" cy="1954916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Vom Kunden aus </a:t>
              </a:r>
              <a:b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</a:b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direkt auf Daten zugreifen…</a:t>
              </a:r>
              <a: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  <a:t/>
              </a:r>
              <a:b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</a:br>
              <a: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  <a:t>z.B. für Angebote, Materialbestellungen, Verfügbarkeiten von Mitarbeitern…</a:t>
              </a:r>
            </a:p>
          </p:txBody>
        </p:sp>
      </p:grpSp>
      <p:grpSp>
        <p:nvGrpSpPr>
          <p:cNvPr id="22" name="Gruppieren 21"/>
          <p:cNvGrpSpPr/>
          <p:nvPr/>
        </p:nvGrpSpPr>
        <p:grpSpPr>
          <a:xfrm>
            <a:off x="6255503" y="3338338"/>
            <a:ext cx="2375691" cy="3018012"/>
            <a:chOff x="7381426" y="2061976"/>
            <a:chExt cx="2376000" cy="3018405"/>
          </a:xfrm>
        </p:grpSpPr>
        <p:sp>
          <p:nvSpPr>
            <p:cNvPr id="23" name="Freihandform: Form 22"/>
            <p:cNvSpPr/>
            <p:nvPr/>
          </p:nvSpPr>
          <p:spPr>
            <a:xfrm rot="16200000">
              <a:off x="7060223" y="2383179"/>
              <a:ext cx="3018405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24" name="Freihandform: Form 23"/>
            <p:cNvSpPr/>
            <p:nvPr/>
          </p:nvSpPr>
          <p:spPr>
            <a:xfrm>
              <a:off x="7477144" y="2911442"/>
              <a:ext cx="2280280" cy="2168939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Zusammenarbeit mit anderen Gewerken:</a:t>
              </a:r>
              <a:b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</a:br>
              <a:r>
                <a:rPr lang="de-DE" altLang="de-DE" sz="1500" dirty="0">
                  <a:solidFill>
                    <a:prstClr val="black"/>
                  </a:solidFill>
                  <a:ea typeface="Fira Sans" panose="020B0503050000020004" pitchFamily="34" charset="0"/>
                </a:rPr>
                <a:t>z.B. beim Ausbau einer Schule mit Maurer, Tapezierer, Installateur, Fliesenleger… mit Blick auf den Projektplan… wo ist wer und wann? …</a:t>
              </a:r>
            </a:p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endParaRPr lang="de-DE" altLang="de-DE" sz="1500" dirty="0">
                <a:solidFill>
                  <a:prstClr val="black"/>
                </a:solidFill>
                <a:ea typeface="Fira Sans" panose="020B0503050000020004" pitchFamily="34" charset="0"/>
              </a:endParaRPr>
            </a:p>
          </p:txBody>
        </p:sp>
      </p:grpSp>
      <p:grpSp>
        <p:nvGrpSpPr>
          <p:cNvPr id="26" name="Gruppieren 25"/>
          <p:cNvGrpSpPr/>
          <p:nvPr/>
        </p:nvGrpSpPr>
        <p:grpSpPr>
          <a:xfrm>
            <a:off x="8976632" y="3338338"/>
            <a:ext cx="2375691" cy="3018013"/>
            <a:chOff x="7381425" y="2061976"/>
            <a:chExt cx="2376000" cy="3018406"/>
          </a:xfrm>
        </p:grpSpPr>
        <p:sp>
          <p:nvSpPr>
            <p:cNvPr id="27" name="Freihandform: Form 26"/>
            <p:cNvSpPr/>
            <p:nvPr/>
          </p:nvSpPr>
          <p:spPr>
            <a:xfrm rot="16200000">
              <a:off x="7060222" y="2383179"/>
              <a:ext cx="3018406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28" name="Freihandform: Form 27"/>
            <p:cNvSpPr/>
            <p:nvPr/>
          </p:nvSpPr>
          <p:spPr>
            <a:xfrm>
              <a:off x="7477144" y="2911442"/>
              <a:ext cx="2280280" cy="2038274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Zugriff auf Planungen und Genehmigungsunterlagen …</a:t>
              </a:r>
              <a:b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</a:br>
              <a:endParaRPr lang="de-DE" altLang="de-DE" sz="1500" dirty="0">
                <a:solidFill>
                  <a:prstClr val="black"/>
                </a:solidFill>
                <a:ea typeface="Fira Sans" panose="020B0503050000020004" pitchFamily="34" charset="0"/>
              </a:endParaRPr>
            </a:p>
          </p:txBody>
        </p:sp>
      </p:grpSp>
      <p:sp>
        <p:nvSpPr>
          <p:cNvPr id="12" name="Titel 1"/>
          <p:cNvSpPr txBox="1">
            <a:spLocks/>
          </p:cNvSpPr>
          <p:nvPr/>
        </p:nvSpPr>
        <p:spPr>
          <a:xfrm>
            <a:off x="838091" y="973201"/>
            <a:ext cx="10514231" cy="13292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Ziele – ganz praktisch: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Ellipse 6"/>
          <p:cNvSpPr/>
          <p:nvPr/>
        </p:nvSpPr>
        <p:spPr>
          <a:xfrm>
            <a:off x="1084746" y="2332053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Mobiles arbeiten</a:t>
            </a:r>
          </a:p>
        </p:txBody>
      </p:sp>
      <p:sp>
        <p:nvSpPr>
          <p:cNvPr id="8" name="Ellipse 7"/>
          <p:cNvSpPr/>
          <p:nvPr/>
        </p:nvSpPr>
        <p:spPr>
          <a:xfrm>
            <a:off x="3832103" y="2302472"/>
            <a:ext cx="1727775" cy="1727775"/>
          </a:xfrm>
          <a:prstGeom prst="ellipse">
            <a:avLst/>
          </a:prstGeom>
          <a:solidFill>
            <a:srgbClr val="45BFE5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Auf Daten zugreifen</a:t>
            </a:r>
          </a:p>
        </p:txBody>
      </p:sp>
      <p:sp>
        <p:nvSpPr>
          <p:cNvPr id="9" name="Ellipse 8"/>
          <p:cNvSpPr/>
          <p:nvPr/>
        </p:nvSpPr>
        <p:spPr>
          <a:xfrm>
            <a:off x="6579459" y="2302472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Zusammen-</a:t>
            </a:r>
            <a:b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spc="-30" dirty="0" err="1">
                <a:solidFill>
                  <a:schemeClr val="tx1"/>
                </a:solidFill>
                <a:ea typeface="Fira Sans" panose="020B0503050000020004" pitchFamily="34" charset="0"/>
              </a:rPr>
              <a:t>arbeit</a:t>
            </a:r>
            <a:endParaRPr lang="de-DE" sz="1600" b="1" spc="-30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koordinieren</a:t>
            </a:r>
          </a:p>
        </p:txBody>
      </p:sp>
      <p:sp>
        <p:nvSpPr>
          <p:cNvPr id="10" name="Ellipse 9"/>
          <p:cNvSpPr/>
          <p:nvPr/>
        </p:nvSpPr>
        <p:spPr>
          <a:xfrm>
            <a:off x="9300589" y="2302471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Immer</a:t>
            </a:r>
          </a:p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aktuell Bescheid wissen</a:t>
            </a:r>
          </a:p>
        </p:txBody>
      </p:sp>
    </p:spTree>
    <p:extLst>
      <p:ext uri="{BB962C8B-B14F-4D97-AF65-F5344CB8AC3E}">
        <p14:creationId xmlns:p14="http://schemas.microsoft.com/office/powerpoint/2010/main" val="3560419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 txBox="1">
            <a:spLocks/>
          </p:cNvSpPr>
          <p:nvPr/>
        </p:nvSpPr>
        <p:spPr>
          <a:xfrm>
            <a:off x="838091" y="973201"/>
            <a:ext cx="10514231" cy="13292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dirty="0"/>
          </a:p>
        </p:txBody>
      </p:sp>
      <p:sp>
        <p:nvSpPr>
          <p:cNvPr id="14" name="Abgerundetes Rechteck 18"/>
          <p:cNvSpPr/>
          <p:nvPr/>
        </p:nvSpPr>
        <p:spPr>
          <a:xfrm>
            <a:off x="949903" y="4322502"/>
            <a:ext cx="10211449" cy="1947306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Höhere Effektivität </a:t>
            </a:r>
            <a:b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2800" b="1" dirty="0">
                <a:solidFill>
                  <a:schemeClr val="tx1"/>
                </a:solidFill>
                <a:ea typeface="Fira Sans" panose="020B0503050000020004" pitchFamily="34" charset="0"/>
              </a:rPr>
              <a:t>schafft Platz für Ihre Innovation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Ziele: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15" name="Inhaltsplatzhalter 4"/>
          <p:cNvSpPr txBox="1">
            <a:spLocks/>
          </p:cNvSpPr>
          <p:nvPr/>
        </p:nvSpPr>
        <p:spPr>
          <a:xfrm>
            <a:off x="838091" y="2216426"/>
            <a:ext cx="10514231" cy="2744994"/>
          </a:xfrm>
          <a:prstGeom prst="rect">
            <a:avLst/>
          </a:prstGeom>
        </p:spPr>
        <p:txBody>
          <a:bodyPr>
            <a:normAutofit/>
          </a:bodyPr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dirty="0">
                <a:latin typeface="+mn-lt"/>
              </a:rPr>
              <a:t>Die Vorteile der Cloud Angebote nutzen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+mn-lt"/>
              </a:rPr>
              <a:t> Zeit einsparen und höhere Margen erzielen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+mn-lt"/>
              </a:rPr>
              <a:t> Zeit für neue Ideen und Ausrichtungen!</a:t>
            </a:r>
          </a:p>
          <a:p>
            <a:pPr marL="712717" indent="-226990">
              <a:buClr>
                <a:srgbClr val="40B39B"/>
              </a:buClr>
              <a:buFont typeface="Fira Sans" panose="020B0503050000020004" pitchFamily="34" charset="0"/>
              <a:buChar char="➡"/>
            </a:pPr>
            <a:r>
              <a:rPr lang="de-DE" dirty="0">
                <a:latin typeface="+mn-lt"/>
              </a:rPr>
              <a:t> Attraktivität für Mitarbeiter und neue Kunden!</a:t>
            </a:r>
          </a:p>
          <a:p>
            <a:pPr marL="0" indent="0">
              <a:buNone/>
            </a:pPr>
            <a:endParaRPr lang="de-DE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9561440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2435052"/>
            <a:ext cx="10514231" cy="353511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Lösungen?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Es gibt Sie!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08408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/>
              <a:t>Ein Praxisbeispiel:</a:t>
            </a:r>
            <a:br>
              <a:rPr lang="de-DE" sz="4000" dirty="0"/>
            </a:b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860"/>
          <a:stretch/>
        </p:blipFill>
        <p:spPr>
          <a:xfrm>
            <a:off x="1944142" y="1533923"/>
            <a:ext cx="8302129" cy="4758490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47"/>
          <a:stretch/>
        </p:blipFill>
        <p:spPr>
          <a:xfrm>
            <a:off x="1944142" y="1533923"/>
            <a:ext cx="8302129" cy="477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8930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Ellipse 46"/>
          <p:cNvSpPr/>
          <p:nvPr/>
        </p:nvSpPr>
        <p:spPr>
          <a:xfrm>
            <a:off x="4213330" y="2107101"/>
            <a:ext cx="3777231" cy="3777231"/>
          </a:xfrm>
          <a:prstGeom prst="ellipse">
            <a:avLst/>
          </a:prstGeom>
          <a:noFill/>
          <a:ln w="38100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/>
          <a:p>
            <a:pPr algn="ctr">
              <a:lnSpc>
                <a:spcPct val="75000"/>
              </a:lnSpc>
            </a:pPr>
            <a:endParaRPr lang="de-DE" sz="12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75000"/>
              </a:lnSpc>
            </a:pPr>
            <a:endParaRPr lang="de-DE" sz="12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>
              <a:lnSpc>
                <a:spcPct val="75000"/>
              </a:lnSpc>
            </a:pPr>
            <a:endParaRPr lang="de-DE" sz="1200" dirty="0">
              <a:solidFill>
                <a:srgbClr val="000000"/>
              </a:solidFill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Freihandform: Form 13"/>
          <p:cNvSpPr/>
          <p:nvPr/>
        </p:nvSpPr>
        <p:spPr>
          <a:xfrm>
            <a:off x="5498406" y="1066984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40B39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Firma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5" name="Freihandform: Form 14"/>
          <p:cNvSpPr/>
          <p:nvPr/>
        </p:nvSpPr>
        <p:spPr>
          <a:xfrm rot="1350000">
            <a:off x="6756444" y="1802127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16" name="Freihandform: Form 15"/>
          <p:cNvSpPr/>
          <p:nvPr/>
        </p:nvSpPr>
        <p:spPr>
          <a:xfrm>
            <a:off x="7155563" y="1753400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Werbung,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unden-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sprache</a:t>
            </a: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dress-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 err="1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verwaltung</a:t>
            </a:r>
            <a:endParaRPr lang="de-DE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7" name="Freihandform: Form 16"/>
          <p:cNvSpPr/>
          <p:nvPr/>
        </p:nvSpPr>
        <p:spPr>
          <a:xfrm rot="4050000">
            <a:off x="7933102" y="2969042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18" name="Freihandform: Form 17"/>
          <p:cNvSpPr/>
          <p:nvPr/>
        </p:nvSpPr>
        <p:spPr>
          <a:xfrm>
            <a:off x="7841978" y="3410555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ngebot,</a:t>
            </a:r>
            <a:b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osten-voranschlag,</a:t>
            </a:r>
            <a:b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Auftrag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19" name="Freihandform: Form 18"/>
          <p:cNvSpPr/>
          <p:nvPr/>
        </p:nvSpPr>
        <p:spPr>
          <a:xfrm rot="17550000">
            <a:off x="7939992" y="4626196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0" name="Freihandform: Form 19"/>
          <p:cNvSpPr/>
          <p:nvPr/>
        </p:nvSpPr>
        <p:spPr>
          <a:xfrm>
            <a:off x="7155563" y="5067709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0096C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Produkt,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Herstellung</a:t>
            </a:r>
            <a:b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Dienstleistung</a:t>
            </a:r>
            <a:endParaRPr lang="de-DE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1" name="Freihandform: Form 20"/>
          <p:cNvSpPr/>
          <p:nvPr/>
        </p:nvSpPr>
        <p:spPr>
          <a:xfrm rot="20250000">
            <a:off x="6773077" y="5802852"/>
            <a:ext cx="318050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2" name="Freihandform: Form 21"/>
          <p:cNvSpPr/>
          <p:nvPr/>
        </p:nvSpPr>
        <p:spPr>
          <a:xfrm>
            <a:off x="5498406" y="5754127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40B39B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Kunde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3" name="Freihandform: Form 22"/>
          <p:cNvSpPr/>
          <p:nvPr/>
        </p:nvSpPr>
        <p:spPr>
          <a:xfrm rot="1350000">
            <a:off x="5115920" y="5809742"/>
            <a:ext cx="318050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4" name="Freihandform: Form 23"/>
          <p:cNvSpPr/>
          <p:nvPr/>
        </p:nvSpPr>
        <p:spPr>
          <a:xfrm>
            <a:off x="3841249" y="5067709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  <a:solidFill>
            <a:srgbClr val="0096C7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Überprüfung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5" name="Freihandform: Form 24"/>
          <p:cNvSpPr/>
          <p:nvPr/>
        </p:nvSpPr>
        <p:spPr>
          <a:xfrm rot="4050000">
            <a:off x="3939263" y="4642828"/>
            <a:ext cx="318050" cy="402842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292933" y="296822"/>
                </a:moveTo>
                <a:lnTo>
                  <a:pt x="146466" y="296822"/>
                </a:lnTo>
                <a:lnTo>
                  <a:pt x="146466" y="371028"/>
                </a:lnTo>
                <a:lnTo>
                  <a:pt x="0" y="185514"/>
                </a:lnTo>
                <a:lnTo>
                  <a:pt x="146466" y="0"/>
                </a:lnTo>
                <a:lnTo>
                  <a:pt x="146466" y="74206"/>
                </a:lnTo>
                <a:lnTo>
                  <a:pt x="292933" y="74206"/>
                </a:lnTo>
                <a:lnTo>
                  <a:pt x="292933" y="296822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6" name="Freihandform: Form 25"/>
          <p:cNvSpPr/>
          <p:nvPr/>
        </p:nvSpPr>
        <p:spPr>
          <a:xfrm>
            <a:off x="3154833" y="3410555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Rechnung</a:t>
            </a:r>
            <a:endParaRPr lang="de-DE" sz="120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7" name="Freihandform: Form 26"/>
          <p:cNvSpPr/>
          <p:nvPr/>
        </p:nvSpPr>
        <p:spPr>
          <a:xfrm rot="17550000">
            <a:off x="3932373" y="2985674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28" name="Freihandform: Form 27"/>
          <p:cNvSpPr/>
          <p:nvPr/>
        </p:nvSpPr>
        <p:spPr>
          <a:xfrm>
            <a:off x="3841249" y="1753400"/>
            <a:ext cx="1193601" cy="1193599"/>
          </a:xfrm>
          <a:custGeom>
            <a:avLst/>
            <a:gdLst>
              <a:gd name="connsiteX0" fmla="*/ 0 w 1099343"/>
              <a:gd name="connsiteY0" fmla="*/ 549672 h 1099343"/>
              <a:gd name="connsiteX1" fmla="*/ 549672 w 1099343"/>
              <a:gd name="connsiteY1" fmla="*/ 0 h 1099343"/>
              <a:gd name="connsiteX2" fmla="*/ 1099344 w 1099343"/>
              <a:gd name="connsiteY2" fmla="*/ 549672 h 1099343"/>
              <a:gd name="connsiteX3" fmla="*/ 549672 w 1099343"/>
              <a:gd name="connsiteY3" fmla="*/ 1099344 h 1099343"/>
              <a:gd name="connsiteX4" fmla="*/ 0 w 1099343"/>
              <a:gd name="connsiteY4" fmla="*/ 549672 h 1099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9343" h="1099343">
                <a:moveTo>
                  <a:pt x="0" y="549672"/>
                </a:moveTo>
                <a:cubicBezTo>
                  <a:pt x="0" y="246097"/>
                  <a:pt x="246097" y="0"/>
                  <a:pt x="549672" y="0"/>
                </a:cubicBezTo>
                <a:cubicBezTo>
                  <a:pt x="853247" y="0"/>
                  <a:pt x="1099344" y="246097"/>
                  <a:pt x="1099344" y="549672"/>
                </a:cubicBezTo>
                <a:cubicBezTo>
                  <a:pt x="1099344" y="853247"/>
                  <a:pt x="853247" y="1099344"/>
                  <a:pt x="549672" y="1099344"/>
                </a:cubicBezTo>
                <a:cubicBezTo>
                  <a:pt x="246097" y="1099344"/>
                  <a:pt x="0" y="853247"/>
                  <a:pt x="0" y="549672"/>
                </a:cubicBez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de-DE" sz="1200" dirty="0">
                <a:solidFill>
                  <a:srgbClr val="FFFFFF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Geldeingang</a:t>
            </a:r>
            <a:endParaRPr lang="de-DE" sz="12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29" name="Freihandform: Form 28"/>
          <p:cNvSpPr/>
          <p:nvPr/>
        </p:nvSpPr>
        <p:spPr>
          <a:xfrm rot="20250000">
            <a:off x="5099287" y="1809017"/>
            <a:ext cx="318049" cy="402840"/>
          </a:xfrm>
          <a:custGeom>
            <a:avLst/>
            <a:gdLst>
              <a:gd name="connsiteX0" fmla="*/ 0 w 292933"/>
              <a:gd name="connsiteY0" fmla="*/ 74206 h 371028"/>
              <a:gd name="connsiteX1" fmla="*/ 146467 w 292933"/>
              <a:gd name="connsiteY1" fmla="*/ 74206 h 371028"/>
              <a:gd name="connsiteX2" fmla="*/ 146467 w 292933"/>
              <a:gd name="connsiteY2" fmla="*/ 0 h 371028"/>
              <a:gd name="connsiteX3" fmla="*/ 292933 w 292933"/>
              <a:gd name="connsiteY3" fmla="*/ 185514 h 371028"/>
              <a:gd name="connsiteX4" fmla="*/ 146467 w 292933"/>
              <a:gd name="connsiteY4" fmla="*/ 371028 h 371028"/>
              <a:gd name="connsiteX5" fmla="*/ 146467 w 292933"/>
              <a:gd name="connsiteY5" fmla="*/ 296822 h 371028"/>
              <a:gd name="connsiteX6" fmla="*/ 0 w 292933"/>
              <a:gd name="connsiteY6" fmla="*/ 296822 h 371028"/>
              <a:gd name="connsiteX7" fmla="*/ 0 w 292933"/>
              <a:gd name="connsiteY7" fmla="*/ 74206 h 37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2933" h="371028">
                <a:moveTo>
                  <a:pt x="0" y="74206"/>
                </a:moveTo>
                <a:lnTo>
                  <a:pt x="146467" y="74206"/>
                </a:lnTo>
                <a:lnTo>
                  <a:pt x="146467" y="0"/>
                </a:lnTo>
                <a:lnTo>
                  <a:pt x="292933" y="185514"/>
                </a:lnTo>
                <a:lnTo>
                  <a:pt x="146467" y="371028"/>
                </a:lnTo>
                <a:lnTo>
                  <a:pt x="146467" y="296822"/>
                </a:lnTo>
                <a:lnTo>
                  <a:pt x="0" y="296822"/>
                </a:lnTo>
                <a:lnTo>
                  <a:pt x="0" y="74206"/>
                </a:lnTo>
                <a:close/>
              </a:path>
            </a:pathLst>
          </a:custGeom>
        </p:spPr>
        <p:style>
          <a:lnRef idx="0">
            <a:schemeClr val="accent1">
              <a:tint val="60000"/>
              <a:hueOff val="0"/>
              <a:satOff val="0"/>
              <a:lumOff val="0"/>
              <a:alphaOff val="0"/>
            </a:schemeClr>
          </a:lnRef>
          <a:fillRef idx="1">
            <a:schemeClr val="accent1">
              <a:tint val="6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tint val="60000"/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0" rIns="0" bIns="0" numCol="1" spcCol="1270" anchor="ctr" anchorCtr="0">
            <a:noAutofit/>
          </a:bodyPr>
          <a:lstStyle/>
          <a:p>
            <a:endParaRPr lang="de-DE" sz="1200"/>
          </a:p>
        </p:txBody>
      </p:sp>
      <p:sp>
        <p:nvSpPr>
          <p:cNvPr id="3" name="Ellipse 2"/>
          <p:cNvSpPr/>
          <p:nvPr/>
        </p:nvSpPr>
        <p:spPr>
          <a:xfrm>
            <a:off x="5202202" y="4136769"/>
            <a:ext cx="3254897" cy="3254897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Sprechblase: oval 30"/>
          <p:cNvSpPr/>
          <p:nvPr/>
        </p:nvSpPr>
        <p:spPr>
          <a:xfrm>
            <a:off x="8960278" y="2107101"/>
            <a:ext cx="3555537" cy="2862135"/>
          </a:xfrm>
          <a:prstGeom prst="wedgeEllipseCallout">
            <a:avLst>
              <a:gd name="adj1" fmla="val -64352"/>
              <a:gd name="adj2" fmla="val 66597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Darauf möchten Sie sich konzentrieren!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Ihre Prozesse:</a:t>
            </a:r>
          </a:p>
        </p:txBody>
      </p:sp>
    </p:spTree>
    <p:extLst>
      <p:ext uri="{BB962C8B-B14F-4D97-AF65-F5344CB8AC3E}">
        <p14:creationId xmlns:p14="http://schemas.microsoft.com/office/powerpoint/2010/main" val="1184002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500"/>
                            </p:stCondLst>
                            <p:childTnLst>
                              <p:par>
                                <p:cTn id="5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" grpId="0" animBg="1"/>
      <p:bldP spid="3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/>
          <p:cNvGrpSpPr/>
          <p:nvPr/>
        </p:nvGrpSpPr>
        <p:grpSpPr>
          <a:xfrm>
            <a:off x="3485156" y="1727630"/>
            <a:ext cx="5220100" cy="5220096"/>
            <a:chOff x="4106227" y="1809379"/>
            <a:chExt cx="3933826" cy="3933823"/>
          </a:xfrm>
        </p:grpSpPr>
        <p:sp>
          <p:nvSpPr>
            <p:cNvPr id="47" name="Ellipse 46"/>
            <p:cNvSpPr/>
            <p:nvPr/>
          </p:nvSpPr>
          <p:spPr>
            <a:xfrm>
              <a:off x="4814290" y="2505147"/>
              <a:ext cx="2526715" cy="2526715"/>
            </a:xfrm>
            <a:prstGeom prst="ellipse">
              <a:avLst/>
            </a:prstGeom>
            <a:noFill/>
            <a:ln w="38100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noAutofit/>
            </a:bodyPr>
            <a:lstStyle/>
            <a:p>
              <a:pPr algn="ctr">
                <a:lnSpc>
                  <a:spcPct val="75000"/>
                </a:lnSpc>
              </a:pPr>
              <a:endParaRPr lang="de-DE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75000"/>
                </a:lnSpc>
              </a:pPr>
              <a:endParaRPr lang="de-DE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>
                <a:lnSpc>
                  <a:spcPct val="75000"/>
                </a:lnSpc>
              </a:pPr>
              <a:endParaRPr lang="de-DE" sz="12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" name="Freihandform: Form 13"/>
            <p:cNvSpPr/>
            <p:nvPr/>
          </p:nvSpPr>
          <p:spPr>
            <a:xfrm>
              <a:off x="5673921" y="1809379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rgbClr val="40B39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Firma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5" name="Freihandform: Form 14"/>
            <p:cNvSpPr/>
            <p:nvPr/>
          </p:nvSpPr>
          <p:spPr>
            <a:xfrm rot="1350000">
              <a:off x="6515464" y="2301140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16" name="Freihandform: Form 15"/>
            <p:cNvSpPr/>
            <p:nvPr/>
          </p:nvSpPr>
          <p:spPr>
            <a:xfrm>
              <a:off x="6782448" y="2268545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Werbung,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Kunden-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 err="1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ansprache</a:t>
              </a:r>
              <a:endParaRPr lang="de-DE" sz="1200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7" name="Freihandform: Form 16"/>
            <p:cNvSpPr/>
            <p:nvPr/>
          </p:nvSpPr>
          <p:spPr>
            <a:xfrm rot="4050000">
              <a:off x="7302570" y="3081728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18" name="Freihandform: Form 17"/>
            <p:cNvSpPr/>
            <p:nvPr/>
          </p:nvSpPr>
          <p:spPr>
            <a:xfrm>
              <a:off x="7241614" y="3377071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Angebot,</a:t>
              </a:r>
              <a:b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Kosten-voranschlag,</a:t>
              </a:r>
              <a:b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Auftra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19" name="Freihandform: Form 18"/>
            <p:cNvSpPr/>
            <p:nvPr/>
          </p:nvSpPr>
          <p:spPr>
            <a:xfrm rot="17550000">
              <a:off x="7307178" y="4190254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0" name="Freihandform: Form 19"/>
            <p:cNvSpPr/>
            <p:nvPr/>
          </p:nvSpPr>
          <p:spPr>
            <a:xfrm>
              <a:off x="6782448" y="4485597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chemeClr val="accent2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Produkt,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Herstellung</a:t>
              </a:r>
              <a:b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</a:br>
              <a:r>
                <a:rPr lang="de-DE" sz="1200" dirty="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Dienstleistung</a:t>
              </a:r>
              <a:endParaRPr lang="de-DE" sz="1200" dirty="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1" name="Freihandform: Form 20"/>
            <p:cNvSpPr/>
            <p:nvPr/>
          </p:nvSpPr>
          <p:spPr>
            <a:xfrm rot="20250000">
              <a:off x="6526590" y="4977358"/>
              <a:ext cx="212754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2" name="Freihandform: Form 21"/>
            <p:cNvSpPr/>
            <p:nvPr/>
          </p:nvSpPr>
          <p:spPr>
            <a:xfrm>
              <a:off x="5673921" y="4944764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rgbClr val="40B39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Kunde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3" name="Freihandform: Form 22"/>
            <p:cNvSpPr/>
            <p:nvPr/>
          </p:nvSpPr>
          <p:spPr>
            <a:xfrm rot="1350000">
              <a:off x="5418063" y="4981967"/>
              <a:ext cx="212754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4" name="Freihandform: Form 23"/>
            <p:cNvSpPr/>
            <p:nvPr/>
          </p:nvSpPr>
          <p:spPr>
            <a:xfrm>
              <a:off x="4565394" y="4485597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  <a:solidFill>
              <a:srgbClr val="0096C7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Überprüfun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5" name="Freihandform: Form 24"/>
            <p:cNvSpPr/>
            <p:nvPr/>
          </p:nvSpPr>
          <p:spPr>
            <a:xfrm rot="4050000">
              <a:off x="4630958" y="4201379"/>
              <a:ext cx="212754" cy="269474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292933" y="296822"/>
                  </a:moveTo>
                  <a:lnTo>
                    <a:pt x="146466" y="296822"/>
                  </a:lnTo>
                  <a:lnTo>
                    <a:pt x="146466" y="371028"/>
                  </a:lnTo>
                  <a:lnTo>
                    <a:pt x="0" y="185514"/>
                  </a:lnTo>
                  <a:lnTo>
                    <a:pt x="146466" y="0"/>
                  </a:lnTo>
                  <a:lnTo>
                    <a:pt x="146466" y="74206"/>
                  </a:lnTo>
                  <a:lnTo>
                    <a:pt x="292933" y="74206"/>
                  </a:lnTo>
                  <a:lnTo>
                    <a:pt x="292933" y="296822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6" name="Freihandform: Form 25"/>
            <p:cNvSpPr/>
            <p:nvPr/>
          </p:nvSpPr>
          <p:spPr>
            <a:xfrm>
              <a:off x="4106227" y="3377071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Rechnun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7" name="Freihandform: Form 26"/>
            <p:cNvSpPr/>
            <p:nvPr/>
          </p:nvSpPr>
          <p:spPr>
            <a:xfrm rot="17550000">
              <a:off x="4626350" y="3092854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  <p:sp>
          <p:nvSpPr>
            <p:cNvPr id="28" name="Freihandform: Form 27"/>
            <p:cNvSpPr/>
            <p:nvPr/>
          </p:nvSpPr>
          <p:spPr>
            <a:xfrm>
              <a:off x="4565394" y="2268545"/>
              <a:ext cx="798439" cy="798438"/>
            </a:xfrm>
            <a:custGeom>
              <a:avLst/>
              <a:gdLst>
                <a:gd name="connsiteX0" fmla="*/ 0 w 1099343"/>
                <a:gd name="connsiteY0" fmla="*/ 549672 h 1099343"/>
                <a:gd name="connsiteX1" fmla="*/ 549672 w 1099343"/>
                <a:gd name="connsiteY1" fmla="*/ 0 h 1099343"/>
                <a:gd name="connsiteX2" fmla="*/ 1099344 w 1099343"/>
                <a:gd name="connsiteY2" fmla="*/ 549672 h 1099343"/>
                <a:gd name="connsiteX3" fmla="*/ 549672 w 1099343"/>
                <a:gd name="connsiteY3" fmla="*/ 1099344 h 1099343"/>
                <a:gd name="connsiteX4" fmla="*/ 0 w 1099343"/>
                <a:gd name="connsiteY4" fmla="*/ 549672 h 10993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9343" h="1099343">
                  <a:moveTo>
                    <a:pt x="0" y="549672"/>
                  </a:moveTo>
                  <a:cubicBezTo>
                    <a:pt x="0" y="246097"/>
                    <a:pt x="246097" y="0"/>
                    <a:pt x="549672" y="0"/>
                  </a:cubicBezTo>
                  <a:cubicBezTo>
                    <a:pt x="853247" y="0"/>
                    <a:pt x="1099344" y="246097"/>
                    <a:pt x="1099344" y="549672"/>
                  </a:cubicBezTo>
                  <a:cubicBezTo>
                    <a:pt x="1099344" y="853247"/>
                    <a:pt x="853247" y="1099344"/>
                    <a:pt x="549672" y="1099344"/>
                  </a:cubicBezTo>
                  <a:cubicBezTo>
                    <a:pt x="246097" y="1099344"/>
                    <a:pt x="0" y="853247"/>
                    <a:pt x="0" y="549672"/>
                  </a:cubicBez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algn="ctr">
                <a:lnSpc>
                  <a:spcPct val="90000"/>
                </a:lnSpc>
              </a:pPr>
              <a:r>
                <a:rPr lang="de-DE" sz="1200">
                  <a:solidFill>
                    <a:srgbClr val="FFFFFF"/>
                  </a:solidFill>
                  <a:ea typeface="Times New Roman" panose="02020603050405020304" pitchFamily="18" charset="0"/>
                  <a:cs typeface="Times New Roman" panose="02020603050405020304" pitchFamily="18" charset="0"/>
                </a:rPr>
                <a:t>Geldeingang</a:t>
              </a:r>
              <a:endParaRPr lang="de-DE" sz="1200">
                <a:latin typeface="Times New Roman" panose="02020603050405020304" pitchFamily="18" charset="0"/>
                <a:ea typeface="Times New Roman" panose="02020603050405020304" pitchFamily="18" charset="0"/>
              </a:endParaRPr>
            </a:p>
          </p:txBody>
        </p:sp>
        <p:sp>
          <p:nvSpPr>
            <p:cNvPr id="29" name="Freihandform: Form 28"/>
            <p:cNvSpPr/>
            <p:nvPr/>
          </p:nvSpPr>
          <p:spPr>
            <a:xfrm rot="20250000">
              <a:off x="5406937" y="2305749"/>
              <a:ext cx="212753" cy="269473"/>
            </a:xfrm>
            <a:custGeom>
              <a:avLst/>
              <a:gdLst>
                <a:gd name="connsiteX0" fmla="*/ 0 w 292933"/>
                <a:gd name="connsiteY0" fmla="*/ 74206 h 371028"/>
                <a:gd name="connsiteX1" fmla="*/ 146467 w 292933"/>
                <a:gd name="connsiteY1" fmla="*/ 74206 h 371028"/>
                <a:gd name="connsiteX2" fmla="*/ 146467 w 292933"/>
                <a:gd name="connsiteY2" fmla="*/ 0 h 371028"/>
                <a:gd name="connsiteX3" fmla="*/ 292933 w 292933"/>
                <a:gd name="connsiteY3" fmla="*/ 185514 h 371028"/>
                <a:gd name="connsiteX4" fmla="*/ 146467 w 292933"/>
                <a:gd name="connsiteY4" fmla="*/ 371028 h 371028"/>
                <a:gd name="connsiteX5" fmla="*/ 146467 w 292933"/>
                <a:gd name="connsiteY5" fmla="*/ 296822 h 371028"/>
                <a:gd name="connsiteX6" fmla="*/ 0 w 292933"/>
                <a:gd name="connsiteY6" fmla="*/ 296822 h 371028"/>
                <a:gd name="connsiteX7" fmla="*/ 0 w 292933"/>
                <a:gd name="connsiteY7" fmla="*/ 74206 h 3710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92933" h="371028">
                  <a:moveTo>
                    <a:pt x="0" y="74206"/>
                  </a:moveTo>
                  <a:lnTo>
                    <a:pt x="146467" y="74206"/>
                  </a:lnTo>
                  <a:lnTo>
                    <a:pt x="146467" y="0"/>
                  </a:lnTo>
                  <a:lnTo>
                    <a:pt x="292933" y="185514"/>
                  </a:lnTo>
                  <a:lnTo>
                    <a:pt x="146467" y="371028"/>
                  </a:lnTo>
                  <a:lnTo>
                    <a:pt x="146467" y="296822"/>
                  </a:lnTo>
                  <a:lnTo>
                    <a:pt x="0" y="296822"/>
                  </a:lnTo>
                  <a:lnTo>
                    <a:pt x="0" y="74206"/>
                  </a:lnTo>
                  <a:close/>
                </a:path>
              </a:pathLst>
            </a:custGeom>
          </p:spPr>
          <p:style>
            <a:ln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endParaRPr lang="de-DE" sz="1200"/>
            </a:p>
          </p:txBody>
        </p:sp>
      </p:grpSp>
      <p:sp>
        <p:nvSpPr>
          <p:cNvPr id="30" name="Sprechblase: oval 29"/>
          <p:cNvSpPr/>
          <p:nvPr/>
        </p:nvSpPr>
        <p:spPr>
          <a:xfrm>
            <a:off x="7812698" y="1217539"/>
            <a:ext cx="2967667" cy="1179754"/>
          </a:xfrm>
          <a:prstGeom prst="wedgeEllipseCallout">
            <a:avLst>
              <a:gd name="adj1" fmla="val -48816"/>
              <a:gd name="adj2" fmla="val 63935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CRM: Moderne Adressverwaltung</a:t>
            </a:r>
          </a:p>
        </p:txBody>
      </p:sp>
      <p:sp>
        <p:nvSpPr>
          <p:cNvPr id="31" name="Sprechblase: oval 30"/>
          <p:cNvSpPr/>
          <p:nvPr/>
        </p:nvSpPr>
        <p:spPr>
          <a:xfrm>
            <a:off x="8670126" y="4475913"/>
            <a:ext cx="2739455" cy="1179754"/>
          </a:xfrm>
          <a:prstGeom prst="wedgeEllipseCallout">
            <a:avLst>
              <a:gd name="adj1" fmla="val -74829"/>
              <a:gd name="adj2" fmla="val 55957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Mobile Zeiterfassung</a:t>
            </a:r>
          </a:p>
        </p:txBody>
      </p:sp>
      <p:sp>
        <p:nvSpPr>
          <p:cNvPr id="33" name="Sprechblase: oval 32"/>
          <p:cNvSpPr/>
          <p:nvPr/>
        </p:nvSpPr>
        <p:spPr>
          <a:xfrm>
            <a:off x="915083" y="4949512"/>
            <a:ext cx="2739455" cy="1179754"/>
          </a:xfrm>
          <a:prstGeom prst="wedgeEllipseCallout">
            <a:avLst>
              <a:gd name="adj1" fmla="val 68977"/>
              <a:gd name="adj2" fmla="val 29745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Kollaboration</a:t>
            </a:r>
          </a:p>
        </p:txBody>
      </p:sp>
      <p:sp>
        <p:nvSpPr>
          <p:cNvPr id="3" name="Rechteck 2"/>
          <p:cNvSpPr/>
          <p:nvPr/>
        </p:nvSpPr>
        <p:spPr>
          <a:xfrm>
            <a:off x="838091" y="1919048"/>
            <a:ext cx="2256100" cy="1846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b="1" dirty="0"/>
              <a:t>… damit Sie die </a:t>
            </a:r>
            <a:br>
              <a:rPr lang="de-DE" b="1" dirty="0"/>
            </a:br>
            <a:r>
              <a:rPr lang="de-DE" b="1" dirty="0"/>
              <a:t>vielen anderen </a:t>
            </a:r>
          </a:p>
          <a:p>
            <a:r>
              <a:rPr lang="de-DE" b="1" dirty="0"/>
              <a:t>Arbeiten einfacher bewältigen und mehr Geld verdienen können!</a:t>
            </a:r>
          </a:p>
        </p:txBody>
      </p:sp>
      <p:sp>
        <p:nvSpPr>
          <p:cNvPr id="37" name="Ellipse 36"/>
          <p:cNvSpPr/>
          <p:nvPr/>
        </p:nvSpPr>
        <p:spPr>
          <a:xfrm>
            <a:off x="4980546" y="4057530"/>
            <a:ext cx="2173934" cy="1735633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PC,</a:t>
            </a:r>
            <a:br>
              <a:rPr lang="de-DE" sz="2000" b="1" dirty="0"/>
            </a:br>
            <a:r>
              <a:rPr lang="de-DE" sz="2000" b="1" dirty="0"/>
              <a:t>Server,</a:t>
            </a:r>
            <a:br>
              <a:rPr lang="de-DE" sz="2000" b="1" dirty="0"/>
            </a:br>
            <a:r>
              <a:rPr lang="de-DE" sz="2000" b="1" dirty="0"/>
              <a:t>Mobilgeräte</a:t>
            </a:r>
          </a:p>
        </p:txBody>
      </p:sp>
      <p:sp>
        <p:nvSpPr>
          <p:cNvPr id="38" name="Ellipse 37"/>
          <p:cNvSpPr/>
          <p:nvPr/>
        </p:nvSpPr>
        <p:spPr>
          <a:xfrm>
            <a:off x="6936146" y="5193667"/>
            <a:ext cx="1260583" cy="1260583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2" name="Sprechblase: oval 31"/>
          <p:cNvSpPr/>
          <p:nvPr/>
        </p:nvSpPr>
        <p:spPr>
          <a:xfrm>
            <a:off x="8786865" y="2973233"/>
            <a:ext cx="2739455" cy="1179754"/>
          </a:xfrm>
          <a:prstGeom prst="wedgeEllipseCallout">
            <a:avLst>
              <a:gd name="adj1" fmla="val -58141"/>
              <a:gd name="adj2" fmla="val 50259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ERP Branchensoftware Buchhaltung</a:t>
            </a:r>
          </a:p>
        </p:txBody>
      </p:sp>
      <p:sp>
        <p:nvSpPr>
          <p:cNvPr id="35" name="Sprechblase: oval 34"/>
          <p:cNvSpPr/>
          <p:nvPr/>
        </p:nvSpPr>
        <p:spPr>
          <a:xfrm>
            <a:off x="8777905" y="2973233"/>
            <a:ext cx="2739455" cy="1179754"/>
          </a:xfrm>
          <a:prstGeom prst="wedgeEllipseCallout">
            <a:avLst>
              <a:gd name="adj1" fmla="val -208818"/>
              <a:gd name="adj2" fmla="val 42281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ERP </a:t>
            </a:r>
            <a:r>
              <a:rPr lang="de-DE" sz="2000" b="1" dirty="0" err="1"/>
              <a:t>BranchensoftwareBuchhaltung</a:t>
            </a:r>
            <a:endParaRPr lang="de-DE" sz="2000" b="1" dirty="0"/>
          </a:p>
        </p:txBody>
      </p:sp>
      <p:sp>
        <p:nvSpPr>
          <p:cNvPr id="36" name="Sprechblase: oval 35"/>
          <p:cNvSpPr/>
          <p:nvPr/>
        </p:nvSpPr>
        <p:spPr>
          <a:xfrm>
            <a:off x="8795824" y="2973233"/>
            <a:ext cx="2739455" cy="1179754"/>
          </a:xfrm>
          <a:prstGeom prst="wedgeEllipseCallout">
            <a:avLst>
              <a:gd name="adj1" fmla="val -196548"/>
              <a:gd name="adj2" fmla="val -43194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2000" b="1" dirty="0"/>
              <a:t>ERP </a:t>
            </a:r>
            <a:r>
              <a:rPr lang="de-DE" sz="2000" b="1" dirty="0" err="1"/>
              <a:t>BranchensoftwareBuchhaltung</a:t>
            </a:r>
            <a:endParaRPr lang="de-DE" sz="2000" b="1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assende Services …</a:t>
            </a:r>
          </a:p>
        </p:txBody>
      </p:sp>
    </p:spTree>
    <p:extLst>
      <p:ext uri="{BB962C8B-B14F-4D97-AF65-F5344CB8AC3E}">
        <p14:creationId xmlns:p14="http://schemas.microsoft.com/office/powerpoint/2010/main" val="34592743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31" grpId="0" animBg="1"/>
      <p:bldP spid="33" grpId="0" animBg="1"/>
      <p:bldP spid="37" grpId="0" animBg="1"/>
      <p:bldP spid="38" grpId="0" animBg="1"/>
      <p:bldP spid="32" grpId="0" animBg="1"/>
      <p:bldP spid="35" grpId="0" animBg="1"/>
      <p:bldP spid="3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2435052"/>
            <a:ext cx="10514231" cy="353511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endParaRPr lang="de-DE" sz="6600" dirty="0">
              <a:solidFill>
                <a:schemeClr val="bg1"/>
              </a:solidFill>
              <a:latin typeface="Cambria" panose="02040503050406030204" pitchFamily="18" charset="0"/>
            </a:endParaRP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Wer hilft?</a:t>
            </a:r>
            <a:endParaRPr lang="de-DE" sz="6600" dirty="0">
              <a:latin typeface="Cambria" panose="02040503050406030204" pitchFamily="18" charset="0"/>
            </a:endParaRPr>
          </a:p>
        </p:txBody>
      </p:sp>
      <p:sp>
        <p:nvSpPr>
          <p:cNvPr id="5" name="Sprechblase: oval 4"/>
          <p:cNvSpPr/>
          <p:nvPr/>
        </p:nvSpPr>
        <p:spPr>
          <a:xfrm>
            <a:off x="174789" y="224157"/>
            <a:ext cx="5455628" cy="2862135"/>
          </a:xfrm>
          <a:prstGeom prst="wedgeEllipseCallout">
            <a:avLst>
              <a:gd name="adj1" fmla="val 70679"/>
              <a:gd name="adj2" fmla="val 56888"/>
            </a:avLst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/>
              <a:t>Ab hier wenden wir uns auch an Ihre Verbände…</a:t>
            </a:r>
          </a:p>
        </p:txBody>
      </p:sp>
    </p:spTree>
    <p:extLst>
      <p:ext uri="{BB962C8B-B14F-4D97-AF65-F5344CB8AC3E}">
        <p14:creationId xmlns:p14="http://schemas.microsoft.com/office/powerpoint/2010/main" val="20891206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llipse 10"/>
          <p:cNvSpPr/>
          <p:nvPr/>
        </p:nvSpPr>
        <p:spPr>
          <a:xfrm>
            <a:off x="806049" y="1343538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Ihre</a:t>
            </a:r>
          </a:p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HWK</a:t>
            </a:r>
          </a:p>
        </p:txBody>
      </p:sp>
      <p:sp>
        <p:nvSpPr>
          <p:cNvPr id="12" name="Ellipse 11"/>
          <p:cNvSpPr/>
          <p:nvPr/>
        </p:nvSpPr>
        <p:spPr>
          <a:xfrm>
            <a:off x="2994204" y="1313957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… über Workshops mit dem Dialog-konzept</a:t>
            </a:r>
          </a:p>
        </p:txBody>
      </p:sp>
      <p:sp>
        <p:nvSpPr>
          <p:cNvPr id="13" name="Ellipse 12"/>
          <p:cNvSpPr/>
          <p:nvPr/>
        </p:nvSpPr>
        <p:spPr>
          <a:xfrm>
            <a:off x="5208709" y="1313957"/>
            <a:ext cx="1727775" cy="1727775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… von der Mittelstand 4.0</a:t>
            </a:r>
          </a:p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Agentur Cloud</a:t>
            </a:r>
            <a:b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  <a:p>
            <a:pPr algn="ctr"/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</p:txBody>
      </p:sp>
      <p:sp>
        <p:nvSpPr>
          <p:cNvPr id="14" name="Ellipse 13"/>
          <p:cNvSpPr/>
          <p:nvPr/>
        </p:nvSpPr>
        <p:spPr>
          <a:xfrm>
            <a:off x="7402710" y="1313956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Und die Plattform </a:t>
            </a:r>
            <a:r>
              <a:rPr lang="de-DE" sz="1600" b="1" dirty="0" err="1">
                <a:solidFill>
                  <a:schemeClr val="tx1"/>
                </a:solidFill>
                <a:ea typeface="Fira Sans" panose="020B0503050000020004" pitchFamily="34" charset="0"/>
              </a:rPr>
              <a:t>Trusted</a:t>
            </a:r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 Cloud</a:t>
            </a:r>
          </a:p>
        </p:txBody>
      </p:sp>
      <p:sp>
        <p:nvSpPr>
          <p:cNvPr id="16" name="Ellipse 15"/>
          <p:cNvSpPr/>
          <p:nvPr/>
        </p:nvSpPr>
        <p:spPr>
          <a:xfrm>
            <a:off x="9617216" y="1313956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Gelistete</a:t>
            </a:r>
            <a:b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Dienstleister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r hilft bei der Vorauswahl</a:t>
            </a:r>
          </a:p>
        </p:txBody>
      </p:sp>
      <p:sp>
        <p:nvSpPr>
          <p:cNvPr id="26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9" name="Abgerundetes Rechteck 18"/>
          <p:cNvSpPr/>
          <p:nvPr/>
        </p:nvSpPr>
        <p:spPr>
          <a:xfrm>
            <a:off x="786279" y="5017725"/>
            <a:ext cx="10566043" cy="997397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800" b="1" dirty="0">
                <a:solidFill>
                  <a:schemeClr val="bg1"/>
                </a:solidFill>
                <a:ea typeface="Fira Sans" panose="020B0503050000020004" pitchFamily="34" charset="0"/>
              </a:rPr>
              <a:t>Wir müssen zusammenarbeiten …</a:t>
            </a:r>
          </a:p>
        </p:txBody>
      </p:sp>
      <p:sp>
        <p:nvSpPr>
          <p:cNvPr id="15" name="Titel 1"/>
          <p:cNvSpPr txBox="1">
            <a:spLocks/>
          </p:cNvSpPr>
          <p:nvPr/>
        </p:nvSpPr>
        <p:spPr>
          <a:xfrm>
            <a:off x="838091" y="2765797"/>
            <a:ext cx="10514231" cy="2241821"/>
          </a:xfrm>
          <a:prstGeom prst="rect">
            <a:avLst/>
          </a:prstGeom>
        </p:spPr>
        <p:txBody>
          <a:bodyPr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endParaRPr lang="de-DE" sz="6600" dirty="0">
              <a:latin typeface="Cambria" panose="02040503050406030204" pitchFamily="18" charset="0"/>
            </a:endParaRPr>
          </a:p>
          <a:p>
            <a:pPr algn="ctr"/>
            <a:r>
              <a:rPr lang="de-DE" sz="6600" dirty="0">
                <a:latin typeface="Cambria" panose="02040503050406030204" pitchFamily="18" charset="0"/>
              </a:rPr>
              <a:t>Fragen Sie nach </a:t>
            </a:r>
            <a:br>
              <a:rPr lang="de-DE" sz="6600" dirty="0">
                <a:latin typeface="Cambria" panose="02040503050406030204" pitchFamily="18" charset="0"/>
              </a:rPr>
            </a:br>
            <a:r>
              <a:rPr lang="de-DE" sz="6600" dirty="0">
                <a:solidFill>
                  <a:srgbClr val="29BFA1"/>
                </a:solidFill>
                <a:latin typeface="Cambria" panose="02040503050406030204" pitchFamily="18" charset="0"/>
              </a:rPr>
              <a:t>Stichwort: Dialogkonzept!</a:t>
            </a:r>
          </a:p>
        </p:txBody>
      </p:sp>
    </p:spTree>
    <p:extLst>
      <p:ext uri="{BB962C8B-B14F-4D97-AF65-F5344CB8AC3E}">
        <p14:creationId xmlns:p14="http://schemas.microsoft.com/office/powerpoint/2010/main" val="3509686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6" grpId="0" animBg="1"/>
      <p:bldP spid="9" grpId="0" animBg="1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2415596"/>
            <a:ext cx="10514231" cy="3535110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Was ist </a:t>
            </a:r>
          </a:p>
          <a:p>
            <a:pPr algn="ctr"/>
            <a:r>
              <a:rPr lang="de-DE" sz="6600" dirty="0" err="1">
                <a:solidFill>
                  <a:schemeClr val="bg1"/>
                </a:solidFill>
                <a:latin typeface="Cambria" panose="02040503050406030204" pitchFamily="18" charset="0"/>
              </a:rPr>
              <a:t>Trusted</a:t>
            </a:r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 Cloud?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… und warum?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6144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669074" y="3137051"/>
            <a:ext cx="4760909" cy="842400"/>
          </a:xfrm>
        </p:spPr>
        <p:txBody>
          <a:bodyPr/>
          <a:lstStyle/>
          <a:p>
            <a:r>
              <a:rPr lang="de-DE" dirty="0"/>
              <a:t>Vielen Dank!</a:t>
            </a:r>
          </a:p>
        </p:txBody>
      </p:sp>
      <p:sp>
        <p:nvSpPr>
          <p:cNvPr id="3" name="Textplatzhalter 2"/>
          <p:cNvSpPr txBox="1">
            <a:spLocks/>
          </p:cNvSpPr>
          <p:nvPr/>
        </p:nvSpPr>
        <p:spPr>
          <a:xfrm>
            <a:off x="7319342" y="1988840"/>
            <a:ext cx="4137025" cy="3456384"/>
          </a:xfrm>
          <a:prstGeom prst="rect">
            <a:avLst/>
          </a:prstGeom>
        </p:spPr>
        <p:txBody>
          <a:bodyPr/>
          <a:lstStyle>
            <a:lvl1pPr marL="228577" indent="-228577" algn="l" defTabSz="9143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68573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1142886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1600040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2057194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b="0" i="0" kern="120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349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503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657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11" indent="-228577" algn="l" defTabSz="914309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Fragen Sie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Christine Neubauer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Kompetenznetzwerk </a:t>
            </a:r>
            <a:r>
              <a:rPr lang="de-DE" sz="1800" dirty="0" err="1"/>
              <a:t>Trusted</a:t>
            </a:r>
            <a:r>
              <a:rPr lang="de-DE" sz="1800" dirty="0"/>
              <a:t> Cloud e.V.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Projektmanagerin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endParaRPr lang="de-DE" sz="18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Besuchen Sie uns: </a:t>
            </a:r>
            <a:endParaRPr lang="en-US" sz="18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800" b="1" dirty="0">
                <a:hlinkClick r:id="rId3"/>
              </a:rPr>
              <a:t>www.trusted-cloud.de</a:t>
            </a:r>
            <a:r>
              <a:rPr lang="en-US" sz="1800" b="1" dirty="0"/>
              <a:t> </a:t>
            </a:r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de-DE" sz="1800" dirty="0"/>
              <a:t>oder</a:t>
            </a:r>
            <a:r>
              <a:rPr lang="en-US" sz="1800" dirty="0"/>
              <a:t> </a:t>
            </a:r>
            <a:r>
              <a:rPr lang="de-DE" sz="1800" dirty="0"/>
              <a:t>fragen Sie uns: </a:t>
            </a:r>
            <a:endParaRPr lang="en-US" sz="1800" dirty="0"/>
          </a:p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sz="1800" b="1" dirty="0">
                <a:solidFill>
                  <a:srgbClr val="0096C4"/>
                </a:solidFill>
                <a:hlinkClick r:id="rId4"/>
              </a:rPr>
              <a:t>info@trusted-cloud.de</a:t>
            </a:r>
            <a:r>
              <a:rPr lang="en-US" sz="1800" dirty="0">
                <a:solidFill>
                  <a:srgbClr val="0096C4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61939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47"/>
            <a:ext cx="12651489" cy="6857107"/>
          </a:xfrm>
          <a:prstGeom prst="rect">
            <a:avLst/>
          </a:prstGeom>
        </p:spPr>
      </p:pic>
      <p:sp>
        <p:nvSpPr>
          <p:cNvPr id="11" name="Ellipse 10"/>
          <p:cNvSpPr/>
          <p:nvPr/>
        </p:nvSpPr>
        <p:spPr>
          <a:xfrm>
            <a:off x="806049" y="21462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Label</a:t>
            </a:r>
          </a:p>
        </p:txBody>
      </p:sp>
      <p:sp>
        <p:nvSpPr>
          <p:cNvPr id="12" name="Ellipse 11"/>
          <p:cNvSpPr/>
          <p:nvPr/>
        </p:nvSpPr>
        <p:spPr>
          <a:xfrm>
            <a:off x="2994204" y="21462"/>
            <a:ext cx="1727775" cy="1727775"/>
          </a:xfrm>
          <a:prstGeom prst="ellipse">
            <a:avLst/>
          </a:prstGeom>
          <a:solidFill>
            <a:srgbClr val="45BFE5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Listung</a:t>
            </a:r>
            <a:b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von Cloud Services</a:t>
            </a:r>
          </a:p>
        </p:txBody>
      </p:sp>
      <p:sp>
        <p:nvSpPr>
          <p:cNvPr id="13" name="Ellipse 12"/>
          <p:cNvSpPr/>
          <p:nvPr/>
        </p:nvSpPr>
        <p:spPr>
          <a:xfrm>
            <a:off x="5208709" y="21462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Listung </a:t>
            </a:r>
            <a:b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</a:br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von IT-Dienstleistern</a:t>
            </a:r>
          </a:p>
        </p:txBody>
      </p:sp>
      <p:sp>
        <p:nvSpPr>
          <p:cNvPr id="14" name="Ellipse 13"/>
          <p:cNvSpPr/>
          <p:nvPr/>
        </p:nvSpPr>
        <p:spPr>
          <a:xfrm>
            <a:off x="7402710" y="21462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Orientierungs-wissen</a:t>
            </a:r>
          </a:p>
        </p:txBody>
      </p:sp>
      <p:sp>
        <p:nvSpPr>
          <p:cNvPr id="16" name="Ellipse 15"/>
          <p:cNvSpPr/>
          <p:nvPr/>
        </p:nvSpPr>
        <p:spPr>
          <a:xfrm>
            <a:off x="9617216" y="21462"/>
            <a:ext cx="1727775" cy="1727775"/>
          </a:xfrm>
          <a:prstGeom prst="ellipse">
            <a:avLst/>
          </a:prstGeom>
          <a:solidFill>
            <a:srgbClr val="0096C7"/>
          </a:solidFill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Dialog- </a:t>
            </a:r>
            <a:r>
              <a:rPr lang="de-DE" sz="1600" b="1" dirty="0" err="1">
                <a:solidFill>
                  <a:schemeClr val="tx1"/>
                </a:solidFill>
                <a:ea typeface="Fira Sans" panose="020B0503050000020004" pitchFamily="34" charset="0"/>
              </a:rPr>
              <a:t>konzept</a:t>
            </a:r>
            <a:endParaRPr lang="de-DE" sz="1600" b="1" dirty="0">
              <a:solidFill>
                <a:schemeClr val="tx1"/>
              </a:solidFill>
              <a:ea typeface="Fira Sans" panose="020B05030500000200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0067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rusted</a:t>
            </a:r>
            <a:r>
              <a:rPr lang="de-DE" dirty="0"/>
              <a:t> Cloud Label – Wer steht dahinter?</a:t>
            </a:r>
            <a:br>
              <a:rPr lang="de-DE" dirty="0"/>
            </a:br>
            <a:endParaRPr lang="de-DE" dirty="0"/>
          </a:p>
        </p:txBody>
      </p:sp>
      <p:grpSp>
        <p:nvGrpSpPr>
          <p:cNvPr id="3" name="Gruppieren 2"/>
          <p:cNvGrpSpPr/>
          <p:nvPr/>
        </p:nvGrpSpPr>
        <p:grpSpPr>
          <a:xfrm>
            <a:off x="2267519" y="2256711"/>
            <a:ext cx="2375691" cy="2804018"/>
            <a:chOff x="2267815" y="2061975"/>
            <a:chExt cx="2376000" cy="2804383"/>
          </a:xfrm>
        </p:grpSpPr>
        <p:sp>
          <p:nvSpPr>
            <p:cNvPr id="5" name="Freihandform: Form 4"/>
            <p:cNvSpPr/>
            <p:nvPr/>
          </p:nvSpPr>
          <p:spPr>
            <a:xfrm rot="16200000">
              <a:off x="2108305" y="2221485"/>
              <a:ext cx="2695019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2451115"/>
                <a:satOff val="-3409"/>
                <a:lumOff val="-1307"/>
                <a:alphaOff val="0"/>
              </a:schemeClr>
            </a:fillRef>
            <a:effectRef idx="0">
              <a:schemeClr val="accent5">
                <a:hueOff val="-2451115"/>
                <a:satOff val="-3409"/>
                <a:lumOff val="-1307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5" rIns="75556" bIns="1964317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6" name="Freihandform: Form 5"/>
            <p:cNvSpPr/>
            <p:nvPr/>
          </p:nvSpPr>
          <p:spPr>
            <a:xfrm>
              <a:off x="2342386" y="2911442"/>
              <a:ext cx="2280280" cy="1954916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2451115"/>
                <a:satOff val="-3409"/>
                <a:lumOff val="-1307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dirty="0">
                  <a:solidFill>
                    <a:schemeClr val="tx1"/>
                  </a:solidFill>
                  <a:ea typeface="Fira Sans" panose="020B0503050000020004" pitchFamily="34" charset="0"/>
                </a:rPr>
                <a:t>Schirmherr des Projektes ist das </a:t>
              </a: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Bundesministerium für Wirtschaft und Energie (</a:t>
              </a:r>
              <a:r>
                <a:rPr lang="de-DE" sz="1500" b="1" dirty="0" err="1">
                  <a:solidFill>
                    <a:schemeClr val="tx1"/>
                  </a:solidFill>
                  <a:ea typeface="Fira Sans" panose="020B0503050000020004" pitchFamily="34" charset="0"/>
                </a:rPr>
                <a:t>BMWi</a:t>
              </a:r>
              <a:r>
                <a:rPr lang="de-DE" sz="1500" b="1" dirty="0">
                  <a:solidFill>
                    <a:schemeClr val="tx1"/>
                  </a:solidFill>
                  <a:ea typeface="Fira Sans" panose="020B0503050000020004" pitchFamily="34" charset="0"/>
                </a:rPr>
                <a:t>).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4826752" y="2256712"/>
            <a:ext cx="2375691" cy="2804017"/>
            <a:chOff x="4827381" y="2061976"/>
            <a:chExt cx="2376000" cy="2804382"/>
          </a:xfrm>
        </p:grpSpPr>
        <p:sp>
          <p:nvSpPr>
            <p:cNvPr id="7" name="Freihandform: Form 6"/>
            <p:cNvSpPr/>
            <p:nvPr/>
          </p:nvSpPr>
          <p:spPr>
            <a:xfrm rot="16200000">
              <a:off x="4667871" y="2221486"/>
              <a:ext cx="2695019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4902230"/>
                <a:satOff val="-6819"/>
                <a:lumOff val="-2615"/>
                <a:alphaOff val="0"/>
              </a:schemeClr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8" name="Freihandform: Form 7"/>
            <p:cNvSpPr/>
            <p:nvPr/>
          </p:nvSpPr>
          <p:spPr>
            <a:xfrm>
              <a:off x="4922227" y="2911442"/>
              <a:ext cx="2281154" cy="1954916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4902230"/>
                <a:satOff val="-6819"/>
                <a:lumOff val="-2615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sz="1500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Herausgeber des Gütesiegels ist das </a:t>
              </a:r>
              <a:r>
                <a:rPr lang="de-DE" sz="1500" b="1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unabhängige Kompetenznetzwerk </a:t>
              </a:r>
              <a:br>
                <a:rPr lang="de-DE" sz="1500" b="1" spc="-20" dirty="0">
                  <a:solidFill>
                    <a:schemeClr val="tx1"/>
                  </a:solidFill>
                  <a:ea typeface="Fira Sans" panose="020B0503050000020004" pitchFamily="34" charset="0"/>
                </a:rPr>
              </a:br>
              <a:r>
                <a:rPr lang="de-DE" sz="1500" b="1" spc="-20" dirty="0" err="1">
                  <a:solidFill>
                    <a:schemeClr val="tx1"/>
                  </a:solidFill>
                  <a:ea typeface="Fira Sans" panose="020B0503050000020004" pitchFamily="34" charset="0"/>
                </a:rPr>
                <a:t>Trusted</a:t>
              </a:r>
              <a:r>
                <a:rPr lang="de-DE" sz="1500" b="1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 Cloud e. V</a:t>
              </a:r>
              <a:r>
                <a:rPr lang="de-DE" sz="1500" spc="-20" dirty="0">
                  <a:solidFill>
                    <a:schemeClr val="tx1"/>
                  </a:solidFill>
                  <a:ea typeface="Fira Sans" panose="020B0503050000020004" pitchFamily="34" charset="0"/>
                </a:rPr>
                <a:t>.</a:t>
              </a:r>
            </a:p>
          </p:txBody>
        </p:sp>
      </p:grpSp>
      <p:grpSp>
        <p:nvGrpSpPr>
          <p:cNvPr id="11" name="Gruppieren 10"/>
          <p:cNvGrpSpPr/>
          <p:nvPr/>
        </p:nvGrpSpPr>
        <p:grpSpPr>
          <a:xfrm>
            <a:off x="7380463" y="2256712"/>
            <a:ext cx="2375691" cy="3933578"/>
            <a:chOff x="7381425" y="2061976"/>
            <a:chExt cx="2376000" cy="3934090"/>
          </a:xfrm>
        </p:grpSpPr>
        <p:sp>
          <p:nvSpPr>
            <p:cNvPr id="9" name="Freihandform: Form 8"/>
            <p:cNvSpPr/>
            <p:nvPr/>
          </p:nvSpPr>
          <p:spPr>
            <a:xfrm rot="16200000">
              <a:off x="7221915" y="2221486"/>
              <a:ext cx="2695020" cy="2376000"/>
            </a:xfrm>
            <a:custGeom>
              <a:avLst/>
              <a:gdLst>
                <a:gd name="connsiteX0" fmla="*/ 0 w 2455716"/>
                <a:gd name="connsiteY0" fmla="*/ 122786 h 2946859"/>
                <a:gd name="connsiteX1" fmla="*/ 122786 w 2455716"/>
                <a:gd name="connsiteY1" fmla="*/ 0 h 2946859"/>
                <a:gd name="connsiteX2" fmla="*/ 2332930 w 2455716"/>
                <a:gd name="connsiteY2" fmla="*/ 0 h 2946859"/>
                <a:gd name="connsiteX3" fmla="*/ 2455716 w 2455716"/>
                <a:gd name="connsiteY3" fmla="*/ 122786 h 2946859"/>
                <a:gd name="connsiteX4" fmla="*/ 2455716 w 2455716"/>
                <a:gd name="connsiteY4" fmla="*/ 2824073 h 2946859"/>
                <a:gd name="connsiteX5" fmla="*/ 2332930 w 2455716"/>
                <a:gd name="connsiteY5" fmla="*/ 2946859 h 2946859"/>
                <a:gd name="connsiteX6" fmla="*/ 122786 w 2455716"/>
                <a:gd name="connsiteY6" fmla="*/ 2946859 h 2946859"/>
                <a:gd name="connsiteX7" fmla="*/ 0 w 2455716"/>
                <a:gd name="connsiteY7" fmla="*/ 2824073 h 2946859"/>
                <a:gd name="connsiteX8" fmla="*/ 0 w 2455716"/>
                <a:gd name="connsiteY8" fmla="*/ 122786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455716" h="2946859">
                  <a:moveTo>
                    <a:pt x="2353394" y="1"/>
                  </a:moveTo>
                  <a:cubicBezTo>
                    <a:pt x="2409905" y="1"/>
                    <a:pt x="2455716" y="65968"/>
                    <a:pt x="2455716" y="147344"/>
                  </a:cubicBezTo>
                  <a:lnTo>
                    <a:pt x="2455716" y="2799515"/>
                  </a:lnTo>
                  <a:cubicBezTo>
                    <a:pt x="2455716" y="2880891"/>
                    <a:pt x="2409905" y="2946858"/>
                    <a:pt x="2353394" y="2946858"/>
                  </a:cubicBezTo>
                  <a:lnTo>
                    <a:pt x="102322" y="2946858"/>
                  </a:lnTo>
                  <a:cubicBezTo>
                    <a:pt x="45811" y="2946858"/>
                    <a:pt x="0" y="2880891"/>
                    <a:pt x="0" y="2799515"/>
                  </a:cubicBezTo>
                  <a:lnTo>
                    <a:pt x="0" y="147344"/>
                  </a:lnTo>
                  <a:cubicBezTo>
                    <a:pt x="0" y="65968"/>
                    <a:pt x="45811" y="1"/>
                    <a:pt x="102322" y="1"/>
                  </a:cubicBezTo>
                  <a:lnTo>
                    <a:pt x="2353394" y="1"/>
                  </a:lnTo>
                  <a:close/>
                </a:path>
              </a:pathLst>
            </a:custGeom>
            <a:solidFill>
              <a:srgbClr val="E1E6E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-7353344"/>
                <a:satOff val="-10228"/>
                <a:lumOff val="-3922"/>
                <a:alphaOff val="0"/>
              </a:schemeClr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30365" tIns="58284" rIns="75556" bIns="1964318" numCol="1" spcCol="1270" anchor="t" anchorCtr="0">
              <a:noAutofit/>
            </a:bodyPr>
            <a:lstStyle/>
            <a:p>
              <a:pPr algn="r" defTabSz="755574">
                <a:spcBef>
                  <a:spcPct val="0"/>
                </a:spcBef>
                <a:spcAft>
                  <a:spcPct val="35000"/>
                </a:spcAft>
              </a:pPr>
              <a:endParaRPr lang="de-DE" sz="1500" dirty="0"/>
            </a:p>
          </p:txBody>
        </p:sp>
        <p:sp>
          <p:nvSpPr>
            <p:cNvPr id="10" name="Freihandform: Form 9"/>
            <p:cNvSpPr/>
            <p:nvPr/>
          </p:nvSpPr>
          <p:spPr>
            <a:xfrm>
              <a:off x="7477144" y="2911442"/>
              <a:ext cx="2280280" cy="3084624"/>
            </a:xfrm>
            <a:custGeom>
              <a:avLst/>
              <a:gdLst>
                <a:gd name="connsiteX0" fmla="*/ 0 w 1829508"/>
                <a:gd name="connsiteY0" fmla="*/ 0 h 2946859"/>
                <a:gd name="connsiteX1" fmla="*/ 1829508 w 1829508"/>
                <a:gd name="connsiteY1" fmla="*/ 0 h 2946859"/>
                <a:gd name="connsiteX2" fmla="*/ 1829508 w 1829508"/>
                <a:gd name="connsiteY2" fmla="*/ 2946859 h 2946859"/>
                <a:gd name="connsiteX3" fmla="*/ 0 w 1829508"/>
                <a:gd name="connsiteY3" fmla="*/ 2946859 h 2946859"/>
                <a:gd name="connsiteX4" fmla="*/ 0 w 1829508"/>
                <a:gd name="connsiteY4" fmla="*/ 0 h 2946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9508" h="2946859">
                  <a:moveTo>
                    <a:pt x="0" y="0"/>
                  </a:moveTo>
                  <a:lnTo>
                    <a:pt x="1829508" y="0"/>
                  </a:lnTo>
                  <a:lnTo>
                    <a:pt x="1829508" y="2946859"/>
                  </a:lnTo>
                  <a:lnTo>
                    <a:pt x="0" y="2946859"/>
                  </a:lnTo>
                  <a:lnTo>
                    <a:pt x="0" y="0"/>
                  </a:lnTo>
                  <a:close/>
                </a:path>
              </a:pathLst>
            </a:cu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5">
                <a:hueOff val="-7353344"/>
                <a:satOff val="-10228"/>
                <a:lumOff val="-3922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0" tIns="54857" rIns="0" bIns="0" numCol="1" spcCol="1270" anchor="t" anchorCtr="0">
              <a:noAutofit/>
            </a:bodyPr>
            <a:lstStyle/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Der unabhängige </a:t>
              </a:r>
              <a:r>
                <a:rPr lang="de-DE" altLang="de-DE" sz="1500" b="1" dirty="0" err="1">
                  <a:solidFill>
                    <a:prstClr val="black"/>
                  </a:solidFill>
                  <a:ea typeface="Fira Sans" panose="020B0503050000020004" pitchFamily="34" charset="0"/>
                </a:rPr>
                <a:t>Trusted</a:t>
              </a:r>
              <a:r>
                <a:rPr lang="de-DE" altLang="de-DE" sz="1500" b="1" dirty="0">
                  <a:solidFill>
                    <a:prstClr val="black"/>
                  </a:solidFill>
                  <a:ea typeface="Fira Sans" panose="020B0503050000020004" pitchFamily="34" charset="0"/>
                </a:rPr>
                <a:t> Cloud Beirat </a:t>
              </a:r>
              <a:r>
                <a:rPr lang="de-DE" altLang="de-DE" sz="1500" dirty="0">
                  <a:solidFill>
                    <a:prstClr val="black"/>
                  </a:solidFill>
                  <a:ea typeface="Fira Sans" panose="020B0503050000020004" pitchFamily="34" charset="0"/>
                </a:rPr>
                <a:t>mit Vertretern aus Wirtschaft, Politik und Wissenschaft ist für die Entscheidung über die Vergabe des Gütesiegels zuständig.</a:t>
              </a:r>
            </a:p>
            <a:p>
              <a:pPr defTabSz="711129">
                <a:spcBef>
                  <a:spcPct val="0"/>
                </a:spcBef>
                <a:spcAft>
                  <a:spcPct val="35000"/>
                </a:spcAft>
              </a:pPr>
              <a:endParaRPr lang="de-DE" altLang="de-DE" sz="1500" dirty="0">
                <a:solidFill>
                  <a:prstClr val="black"/>
                </a:solidFill>
                <a:ea typeface="Fira Sans" panose="020B0503050000020004" pitchFamily="34" charset="0"/>
              </a:endParaRPr>
            </a:p>
          </p:txBody>
        </p:sp>
      </p:grpSp>
      <p:sp>
        <p:nvSpPr>
          <p:cNvPr id="12" name="Ellipse 11"/>
          <p:cNvSpPr/>
          <p:nvPr/>
        </p:nvSpPr>
        <p:spPr>
          <a:xfrm>
            <a:off x="2591475" y="1304227"/>
            <a:ext cx="1727775" cy="1727775"/>
          </a:xfrm>
          <a:prstGeom prst="ellipse">
            <a:avLst/>
          </a:prstGeom>
          <a:solidFill>
            <a:srgbClr val="45BFE5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dirty="0">
                <a:solidFill>
                  <a:schemeClr val="tx1"/>
                </a:solidFill>
                <a:ea typeface="Fira Sans" panose="020B0503050000020004" pitchFamily="34" charset="0"/>
              </a:rPr>
              <a:t>Schirmherr</a:t>
            </a:r>
          </a:p>
        </p:txBody>
      </p:sp>
      <p:sp>
        <p:nvSpPr>
          <p:cNvPr id="13" name="Ellipse 12"/>
          <p:cNvSpPr/>
          <p:nvPr/>
        </p:nvSpPr>
        <p:spPr>
          <a:xfrm>
            <a:off x="5150707" y="1304227"/>
            <a:ext cx="1727775" cy="1727775"/>
          </a:xfrm>
          <a:prstGeom prst="ellipse">
            <a:avLst/>
          </a:prstGeom>
          <a:solidFill>
            <a:srgbClr val="29BFA1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30" dirty="0">
                <a:solidFill>
                  <a:schemeClr val="tx1"/>
                </a:solidFill>
                <a:ea typeface="Fira Sans" panose="020B0503050000020004" pitchFamily="34" charset="0"/>
              </a:rPr>
              <a:t>Herausgeber</a:t>
            </a:r>
          </a:p>
        </p:txBody>
      </p:sp>
      <p:sp>
        <p:nvSpPr>
          <p:cNvPr id="14" name="Ellipse 13"/>
          <p:cNvSpPr/>
          <p:nvPr/>
        </p:nvSpPr>
        <p:spPr>
          <a:xfrm>
            <a:off x="7704419" y="1304226"/>
            <a:ext cx="1727775" cy="1727775"/>
          </a:xfrm>
          <a:prstGeom prst="ellipse">
            <a:avLst/>
          </a:prstGeom>
          <a:solidFill>
            <a:srgbClr val="82C778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de-DE" sz="1600" b="1" spc="-40" dirty="0">
                <a:solidFill>
                  <a:schemeClr val="tx1"/>
                </a:solidFill>
                <a:ea typeface="Fira Sans" panose="020B0503050000020004" pitchFamily="34" charset="0"/>
              </a:rPr>
              <a:t>Beirat</a:t>
            </a:r>
          </a:p>
        </p:txBody>
      </p:sp>
      <p:sp>
        <p:nvSpPr>
          <p:cNvPr id="15" name="Abgerundetes Rechteck 18"/>
          <p:cNvSpPr/>
          <p:nvPr/>
        </p:nvSpPr>
        <p:spPr>
          <a:xfrm>
            <a:off x="949903" y="5193730"/>
            <a:ext cx="10211449" cy="1163630"/>
          </a:xfrm>
          <a:prstGeom prst="roundRect">
            <a:avLst>
              <a:gd name="adj" fmla="val 13996"/>
            </a:avLst>
          </a:prstGeom>
          <a:solidFill>
            <a:srgbClr val="40B39B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200" b="1" dirty="0">
                <a:solidFill>
                  <a:schemeClr val="tx1"/>
                </a:solidFill>
                <a:ea typeface="Fira Sans" panose="020B0503050000020004" pitchFamily="34" charset="0"/>
              </a:rPr>
              <a:t>… umfassende Kriterien für die Prüfung!</a:t>
            </a:r>
          </a:p>
        </p:txBody>
      </p:sp>
    </p:spTree>
    <p:extLst>
      <p:ext uri="{BB962C8B-B14F-4D97-AF65-F5344CB8AC3E}">
        <p14:creationId xmlns:p14="http://schemas.microsoft.com/office/powerpoint/2010/main" val="3647967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1987877"/>
            <a:ext cx="10514231" cy="353511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Was hat das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mit den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Handwerkern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zu tun?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10957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teile am Mittelstand</a:t>
            </a:r>
            <a:r>
              <a:rPr lang="de-DE" sz="4000" dirty="0">
                <a:solidFill>
                  <a:srgbClr val="40B39B"/>
                </a:solidFill>
              </a:rPr>
              <a:t/>
            </a:r>
            <a:br>
              <a:rPr lang="de-DE" sz="4000" dirty="0">
                <a:solidFill>
                  <a:srgbClr val="40B39B"/>
                </a:solidFill>
              </a:rPr>
            </a:br>
            <a:endParaRPr lang="de-DE" dirty="0"/>
          </a:p>
        </p:txBody>
      </p:sp>
      <p:graphicFrame>
        <p:nvGraphicFramePr>
          <p:cNvPr id="7" name="Inhaltsplatzhalter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01727247"/>
              </p:ext>
            </p:extLst>
          </p:nvPr>
        </p:nvGraphicFramePr>
        <p:xfrm>
          <a:off x="720725" y="1619250"/>
          <a:ext cx="9175750" cy="4321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8" name="Fußzeilenplatzhalter 4"/>
          <p:cNvSpPr txBox="1">
            <a:spLocks/>
          </p:cNvSpPr>
          <p:nvPr/>
        </p:nvSpPr>
        <p:spPr>
          <a:xfrm>
            <a:off x="720725" y="5883591"/>
            <a:ext cx="11001847" cy="365077"/>
          </a:xfrm>
          <a:prstGeom prst="rect">
            <a:avLst/>
          </a:prstGeom>
        </p:spPr>
        <p:txBody>
          <a:bodyPr vert="horz" lIns="91428" tIns="45714" rIns="91428" bIns="45714" rtlCol="0" anchor="ctr"/>
          <a:lstStyle>
            <a:defPPr>
              <a:defRPr lang="de-DE"/>
            </a:defPPr>
            <a:lvl1pPr marL="0" algn="ctr" defTabSz="914400" rtl="0" eaLnBrk="1" latinLnBrk="0" hangingPunct="1">
              <a:defRPr sz="1200" kern="1200">
                <a:solidFill>
                  <a:srgbClr val="40B39B"/>
                </a:solidFill>
                <a:latin typeface="Fira Sans" panose="020B0503050000020004" pitchFamily="34" charset="0"/>
                <a:ea typeface="Fira Sans" panose="020B05030500000200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>
                <a:latin typeface="+mn-lt"/>
              </a:rPr>
              <a:t>Quelle: http://www.ifm-bonn.org/fileadmin/data/redaktion/statistik/unternehmensbestand/dokumente/KMU-D_2009-2013_EU-Def.pdf</a:t>
            </a:r>
          </a:p>
        </p:txBody>
      </p:sp>
      <p:sp>
        <p:nvSpPr>
          <p:cNvPr id="11" name="Titel 1"/>
          <p:cNvSpPr txBox="1">
            <a:spLocks/>
          </p:cNvSpPr>
          <p:nvPr/>
        </p:nvSpPr>
        <p:spPr>
          <a:xfrm>
            <a:off x="838091" y="1203013"/>
            <a:ext cx="10514231" cy="110762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3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endParaRPr lang="de-DE" sz="2800" dirty="0">
              <a:solidFill>
                <a:srgbClr val="40B39B"/>
              </a:solidFill>
            </a:endParaRPr>
          </a:p>
        </p:txBody>
      </p:sp>
      <p:sp>
        <p:nvSpPr>
          <p:cNvPr id="12" name="Textfeld 11"/>
          <p:cNvSpPr txBox="1"/>
          <p:nvPr/>
        </p:nvSpPr>
        <p:spPr>
          <a:xfrm>
            <a:off x="7671389" y="1305713"/>
            <a:ext cx="4364143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/>
              <a:t>Anteile der mittelständischen Unternehmen</a:t>
            </a:r>
            <a:r>
              <a:rPr lang="de-DE" sz="1800" dirty="0">
                <a:solidFill>
                  <a:srgbClr val="FF0000"/>
                </a:solidFill>
              </a:rPr>
              <a:t> </a:t>
            </a:r>
          </a:p>
          <a:p>
            <a:r>
              <a:rPr lang="de-DE" sz="1800" dirty="0">
                <a:solidFill>
                  <a:srgbClr val="40B39B"/>
                </a:solidFill>
              </a:rPr>
              <a:t>(total rd. 3,6 </a:t>
            </a:r>
            <a:r>
              <a:rPr lang="de-DE" sz="1800" dirty="0" err="1">
                <a:solidFill>
                  <a:srgbClr val="40B39B"/>
                </a:solidFill>
              </a:rPr>
              <a:t>Mio</a:t>
            </a:r>
            <a:r>
              <a:rPr lang="de-DE" sz="1800" dirty="0">
                <a:solidFill>
                  <a:srgbClr val="40B39B"/>
                </a:solidFill>
              </a:rPr>
              <a:t> KMUs)</a:t>
            </a:r>
            <a:endParaRPr lang="de-DE" sz="1800" dirty="0"/>
          </a:p>
        </p:txBody>
      </p:sp>
      <p:sp>
        <p:nvSpPr>
          <p:cNvPr id="2" name="Sprechblase: oval 1"/>
          <p:cNvSpPr/>
          <p:nvPr/>
        </p:nvSpPr>
        <p:spPr>
          <a:xfrm>
            <a:off x="3611973" y="1756823"/>
            <a:ext cx="3555537" cy="1873711"/>
          </a:xfrm>
          <a:prstGeom prst="wedgeEllipseCallou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3600" b="1" dirty="0"/>
              <a:t>Sie gehören dazu!</a:t>
            </a:r>
          </a:p>
        </p:txBody>
      </p:sp>
    </p:spTree>
    <p:extLst>
      <p:ext uri="{BB962C8B-B14F-4D97-AF65-F5344CB8AC3E}">
        <p14:creationId xmlns:p14="http://schemas.microsoft.com/office/powerpoint/2010/main" val="9280829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0" y="1242562"/>
            <a:ext cx="12224414" cy="5025741"/>
          </a:xfrm>
          <a:prstGeom prst="rect">
            <a:avLst/>
          </a:prstGeom>
          <a:solidFill>
            <a:srgbClr val="40B3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7" name="Titel 1"/>
          <p:cNvSpPr txBox="1">
            <a:spLocks/>
          </p:cNvSpPr>
          <p:nvPr/>
        </p:nvSpPr>
        <p:spPr>
          <a:xfrm>
            <a:off x="838091" y="1637495"/>
            <a:ext cx="10514231" cy="4400764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Nutzen Sie Ihr 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Potential?</a:t>
            </a:r>
            <a:b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</a:br>
            <a:endParaRPr lang="de-DE" sz="6600" dirty="0">
              <a:solidFill>
                <a:schemeClr val="bg1"/>
              </a:solidFill>
              <a:latin typeface="Cambria" panose="02040503050406030204" pitchFamily="18" charset="0"/>
            </a:endParaRP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… oder kennen Sie das</a:t>
            </a:r>
          </a:p>
          <a:p>
            <a:pPr algn="ctr"/>
            <a:r>
              <a:rPr lang="de-DE" sz="6600" dirty="0">
                <a:solidFill>
                  <a:schemeClr val="bg1"/>
                </a:solidFill>
                <a:latin typeface="Cambria" panose="02040503050406030204" pitchFamily="18" charset="0"/>
              </a:rPr>
              <a:t>auch?</a:t>
            </a:r>
            <a:endParaRPr lang="de-DE" sz="6600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5229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789451" y="2105419"/>
            <a:ext cx="5180925" cy="3834254"/>
          </a:xfrm>
          <a:prstGeom prst="rect">
            <a:avLst/>
          </a:prstGeom>
          <a:solidFill>
            <a:srgbClr val="0096C7"/>
          </a:solidFill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599" dirty="0">
                <a:solidFill>
                  <a:schemeClr val="bg1"/>
                </a:solidFill>
              </a:rPr>
              <a:t>Papierkram</a:t>
            </a:r>
            <a:endParaRPr lang="de-DE" sz="6599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roblemfeld</a:t>
            </a:r>
            <a:r>
              <a:rPr lang="de-DE" sz="4000" dirty="0"/>
              <a:t> 1</a:t>
            </a:r>
          </a:p>
        </p:txBody>
      </p:sp>
      <p:grpSp>
        <p:nvGrpSpPr>
          <p:cNvPr id="3" name="Gruppieren 2"/>
          <p:cNvGrpSpPr/>
          <p:nvPr/>
        </p:nvGrpSpPr>
        <p:grpSpPr>
          <a:xfrm>
            <a:off x="767042" y="2105419"/>
            <a:ext cx="5203334" cy="3834254"/>
            <a:chOff x="815788" y="2105246"/>
            <a:chExt cx="5204012" cy="3834753"/>
          </a:xfrm>
        </p:grpSpPr>
        <p:pic>
          <p:nvPicPr>
            <p:cNvPr id="2" name="Grafik 1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15788" y="2105246"/>
              <a:ext cx="5204012" cy="3834753"/>
            </a:xfrm>
            <a:prstGeom prst="rect">
              <a:avLst/>
            </a:prstGeom>
          </p:spPr>
        </p:pic>
        <p:sp>
          <p:nvSpPr>
            <p:cNvPr id="9" name="Rechteck 8"/>
            <p:cNvSpPr/>
            <p:nvPr/>
          </p:nvSpPr>
          <p:spPr>
            <a:xfrm rot="16200000">
              <a:off x="-130657" y="3069039"/>
              <a:ext cx="220066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>
                  <a:solidFill>
                    <a:schemeClr val="bg1"/>
                  </a:solidFill>
                </a:rPr>
                <a:t>Daniel </a:t>
              </a:r>
              <a:r>
                <a:rPr lang="de-DE" sz="1400" dirty="0" err="1">
                  <a:solidFill>
                    <a:schemeClr val="bg1"/>
                  </a:solidFill>
                </a:rPr>
                <a:t>Spuhler</a:t>
              </a:r>
              <a:r>
                <a:rPr lang="de-DE" sz="1400" dirty="0">
                  <a:solidFill>
                    <a:schemeClr val="bg1"/>
                  </a:solidFill>
                </a:rPr>
                <a:t>  / pixelio.de</a:t>
              </a:r>
            </a:p>
          </p:txBody>
        </p:sp>
      </p:grpSp>
      <p:sp>
        <p:nvSpPr>
          <p:cNvPr id="13" name="Inhaltsplatzhalter 6"/>
          <p:cNvSpPr>
            <a:spLocks noGrp="1"/>
          </p:cNvSpPr>
          <p:nvPr>
            <p:ph sz="half" idx="4294967295"/>
          </p:nvPr>
        </p:nvSpPr>
        <p:spPr>
          <a:xfrm>
            <a:off x="6171396" y="2105419"/>
            <a:ext cx="5180925" cy="3834254"/>
          </a:xfrm>
        </p:spPr>
        <p:txBody>
          <a:bodyPr/>
          <a:lstStyle/>
          <a:p>
            <a:r>
              <a:rPr lang="de-DE" dirty="0"/>
              <a:t>Angebote</a:t>
            </a:r>
          </a:p>
          <a:p>
            <a:r>
              <a:rPr lang="de-DE" dirty="0"/>
              <a:t>Arbeitsnachweise</a:t>
            </a:r>
          </a:p>
          <a:p>
            <a:r>
              <a:rPr lang="de-DE" dirty="0"/>
              <a:t>Zeiterfassung</a:t>
            </a:r>
          </a:p>
          <a:p>
            <a:r>
              <a:rPr lang="de-DE" dirty="0"/>
              <a:t>Materialbestellungen</a:t>
            </a:r>
          </a:p>
          <a:p>
            <a:r>
              <a:rPr lang="de-DE" dirty="0"/>
              <a:t>Lieferantenrechnungen</a:t>
            </a:r>
          </a:p>
          <a:p>
            <a:r>
              <a:rPr lang="de-DE" dirty="0"/>
              <a:t>Rechnungen für den Kunden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2063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/>
          <p:cNvSpPr txBox="1">
            <a:spLocks/>
          </p:cNvSpPr>
          <p:nvPr/>
        </p:nvSpPr>
        <p:spPr>
          <a:xfrm>
            <a:off x="789451" y="2105419"/>
            <a:ext cx="5180925" cy="3834254"/>
          </a:xfrm>
          <a:prstGeom prst="rect">
            <a:avLst/>
          </a:prstGeom>
          <a:solidFill>
            <a:srgbClr val="45BFE5"/>
          </a:solidFill>
        </p:spPr>
        <p:txBody>
          <a:bodyPr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Merriweather" panose="02060503050406030704" pitchFamily="18" charset="0"/>
                <a:ea typeface="+mj-ea"/>
                <a:cs typeface="+mj-cs"/>
              </a:defRPr>
            </a:lvl1pPr>
          </a:lstStyle>
          <a:p>
            <a:pPr algn="ctr"/>
            <a:r>
              <a:rPr lang="de-DE" sz="6599" dirty="0">
                <a:solidFill>
                  <a:schemeClr val="bg1"/>
                </a:solidFill>
              </a:rPr>
              <a:t>Was geht Ihnen alles „durch“?</a:t>
            </a:r>
            <a:endParaRPr lang="de-DE" sz="6599" dirty="0"/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de-DE" dirty="0"/>
              <a:t>Info@trusted-cloud.de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/>
              <a:t>Problemfeld 2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789451" y="2105416"/>
            <a:ext cx="5180925" cy="3834255"/>
            <a:chOff x="838200" y="2105244"/>
            <a:chExt cx="5181600" cy="3834754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8200" y="2105245"/>
              <a:ext cx="5181600" cy="3834753"/>
            </a:xfrm>
            <a:prstGeom prst="rect">
              <a:avLst/>
            </a:prstGeom>
          </p:spPr>
        </p:pic>
        <p:sp>
          <p:nvSpPr>
            <p:cNvPr id="9" name="Rechteck 8"/>
            <p:cNvSpPr/>
            <p:nvPr/>
          </p:nvSpPr>
          <p:spPr>
            <a:xfrm rot="16200000">
              <a:off x="4765578" y="3051689"/>
              <a:ext cx="220066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de-DE" sz="1400" dirty="0">
                  <a:solidFill>
                    <a:schemeClr val="bg1"/>
                  </a:solidFill>
                </a:rPr>
                <a:t>S. </a:t>
              </a:r>
              <a:r>
                <a:rPr lang="de-DE" sz="1400" dirty="0" err="1">
                  <a:solidFill>
                    <a:schemeClr val="bg1"/>
                  </a:solidFill>
                </a:rPr>
                <a:t>Hofschlaeger</a:t>
              </a:r>
              <a:r>
                <a:rPr lang="de-DE" sz="1400" dirty="0">
                  <a:solidFill>
                    <a:schemeClr val="bg1"/>
                  </a:solidFill>
                </a:rPr>
                <a:t>  / pixelio.de</a:t>
              </a:r>
            </a:p>
          </p:txBody>
        </p:sp>
      </p:grpSp>
      <p:sp>
        <p:nvSpPr>
          <p:cNvPr id="12" name="Inhaltsplatzhalter 6"/>
          <p:cNvSpPr>
            <a:spLocks noGrp="1"/>
          </p:cNvSpPr>
          <p:nvPr>
            <p:ph sz="half" idx="4294967295"/>
          </p:nvPr>
        </p:nvSpPr>
        <p:spPr>
          <a:xfrm>
            <a:off x="6171396" y="2105419"/>
            <a:ext cx="5180925" cy="3834254"/>
          </a:xfrm>
        </p:spPr>
        <p:txBody>
          <a:bodyPr>
            <a:normAutofit/>
          </a:bodyPr>
          <a:lstStyle/>
          <a:p>
            <a:r>
              <a:rPr lang="de-DE" dirty="0"/>
              <a:t>Werden alle Zeiten erfasst?</a:t>
            </a:r>
          </a:p>
          <a:p>
            <a:r>
              <a:rPr lang="de-DE" dirty="0"/>
              <a:t>Wird alles abgerechnet?</a:t>
            </a:r>
          </a:p>
          <a:p>
            <a:pPr lvl="1"/>
            <a:r>
              <a:rPr lang="de-DE" dirty="0"/>
              <a:t>bei Sonderwünschen des Kunden</a:t>
            </a:r>
          </a:p>
          <a:p>
            <a:pPr lvl="1"/>
            <a:r>
              <a:rPr lang="de-DE" dirty="0"/>
              <a:t>bei unvorhergesehen Ereignissen </a:t>
            </a:r>
          </a:p>
          <a:p>
            <a:r>
              <a:rPr lang="de-DE" dirty="0"/>
              <a:t>Wie koordinieren Sie Mitarbeiter am schnellsten bei Ad-Hoc-Umplanungen</a:t>
            </a:r>
          </a:p>
        </p:txBody>
      </p:sp>
    </p:spTree>
    <p:extLst>
      <p:ext uri="{BB962C8B-B14F-4D97-AF65-F5344CB8AC3E}">
        <p14:creationId xmlns:p14="http://schemas.microsoft.com/office/powerpoint/2010/main" val="39409609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2" grpId="0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VTg_P6rkuq_fbZG2oYXw"/>
</p:tagLst>
</file>

<file path=ppt/theme/theme1.xml><?xml version="1.0" encoding="utf-8"?>
<a:theme xmlns:a="http://schemas.openxmlformats.org/drawingml/2006/main" name="Trusted_Cloud_Vorlage_final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/>
      <a:bodyPr lIns="0" tIns="0" rIns="0" bIns="0"/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Trusted_Cloud_Vorlage_02" id="{DD6676CB-CACB-4535-A9DD-FAD40D0F423B}" vid="{94924CDA-D60D-4984-A18A-E641ADC86A5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4E5F3AC762C4E4884ECFB74F514C833" ma:contentTypeVersion="" ma:contentTypeDescription="Create a new document." ma:contentTypeScope="" ma:versionID="c0f909df9df6f2fb05f24d886eff2f76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f3e687d5f98ee29b9cfcc2ff24550dc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5EB6794-8DE8-4D34-88AE-29755A39B75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DFE4DAE-121F-4BA8-BEFA-908103BF61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3BAC728A-5DAF-44B9-BC66-646866795794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rusted_Cloud_Vorlage_final</Template>
  <TotalTime>0</TotalTime>
  <Words>837</Words>
  <Application>Microsoft Office PowerPoint</Application>
  <PresentationFormat>Benutzerdefiniert</PresentationFormat>
  <Paragraphs>224</Paragraphs>
  <Slides>20</Slides>
  <Notes>2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0</vt:i4>
      </vt:variant>
    </vt:vector>
  </HeadingPairs>
  <TitlesOfParts>
    <vt:vector size="22" baseType="lpstr">
      <vt:lpstr>Trusted_Cloud_Vorlage_final</vt:lpstr>
      <vt:lpstr>think-cell Folie</vt:lpstr>
      <vt:lpstr>Vertrauenswürdige Cloud Services</vt:lpstr>
      <vt:lpstr>PowerPoint-Präsentation</vt:lpstr>
      <vt:lpstr>PowerPoint-Präsentation</vt:lpstr>
      <vt:lpstr>Trusted Cloud Label – Wer steht dahinter? </vt:lpstr>
      <vt:lpstr>PowerPoint-Präsentation</vt:lpstr>
      <vt:lpstr>Anteile am Mittelstand </vt:lpstr>
      <vt:lpstr>PowerPoint-Präsentation</vt:lpstr>
      <vt:lpstr>Problemfeld 1</vt:lpstr>
      <vt:lpstr>Problemfeld 2</vt:lpstr>
      <vt:lpstr>Problemfeld 3</vt:lpstr>
      <vt:lpstr>Das Problem</vt:lpstr>
      <vt:lpstr>Ziele – ganz praktisch:</vt:lpstr>
      <vt:lpstr>Ziele:</vt:lpstr>
      <vt:lpstr>PowerPoint-Präsentation</vt:lpstr>
      <vt:lpstr>Ein Praxisbeispiel: </vt:lpstr>
      <vt:lpstr>Ihre Prozesse:</vt:lpstr>
      <vt:lpstr>Passende Services …</vt:lpstr>
      <vt:lpstr>PowerPoint-Präsentation</vt:lpstr>
      <vt:lpstr>Wer hilft bei der Vorauswahl</vt:lpstr>
      <vt:lpstr>Vielen Dank!</vt:lpstr>
    </vt:vector>
  </TitlesOfParts>
  <Company>Capgemini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icole Rauschenberg</dc:creator>
  <dc:description>FagoUpdate 03.02.2016</dc:description>
  <cp:lastModifiedBy>HP</cp:lastModifiedBy>
  <cp:revision>175</cp:revision>
  <cp:lastPrinted>2017-03-05T22:36:35Z</cp:lastPrinted>
  <dcterms:created xsi:type="dcterms:W3CDTF">2016-02-05T13:29:39Z</dcterms:created>
  <dcterms:modified xsi:type="dcterms:W3CDTF">2017-05-02T17:06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E5F3AC762C4E4884ECFB74F514C833</vt:lpwstr>
  </property>
</Properties>
</file>